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5"/>
  </p:notesMasterIdLst>
  <p:sldIdLst>
    <p:sldId id="256" r:id="rId3"/>
    <p:sldId id="262" r:id="rId4"/>
    <p:sldId id="303" r:id="rId5"/>
    <p:sldId id="302" r:id="rId6"/>
    <p:sldId id="274" r:id="rId7"/>
    <p:sldId id="258" r:id="rId8"/>
    <p:sldId id="257" r:id="rId9"/>
    <p:sldId id="259" r:id="rId10"/>
    <p:sldId id="260" r:id="rId11"/>
    <p:sldId id="261" r:id="rId12"/>
    <p:sldId id="263" r:id="rId13"/>
    <p:sldId id="304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t 24slides4" initials="i2" lastIdx="4" clrIdx="0">
    <p:extLst>
      <p:ext uri="{19B8F6BF-5375-455C-9EA6-DF929625EA0E}">
        <p15:presenceInfo xmlns:p15="http://schemas.microsoft.com/office/powerpoint/2012/main" userId="it 24slides4" providerId="None"/>
      </p:ext>
    </p:extLst>
  </p:cmAuthor>
  <p:cmAuthor id="2" name="ANGGI" initials="A" lastIdx="1" clrIdx="1">
    <p:extLst>
      <p:ext uri="{19B8F6BF-5375-455C-9EA6-DF929625EA0E}">
        <p15:presenceInfo xmlns:p15="http://schemas.microsoft.com/office/powerpoint/2012/main" userId="ANGG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7192"/>
    <a:srgbClr val="0D616C"/>
    <a:srgbClr val="95B7A9"/>
    <a:srgbClr val="002E35"/>
    <a:srgbClr val="103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695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960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5F3F61-0028-4E9F-8AE7-BC36A7766A4B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BB3F76-6466-4DE0-A501-8D20892E30B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17594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32106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68230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00818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href='https://www.freepik.com/vectors/event'&gt;Event vector created by stories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6727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13185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84248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86506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78578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C07B5-E8CC-4D6D-93B4-06CC1BC29E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BD81BF-7FD3-4956-A50E-46551A0A52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620B9-82EA-4238-9F68-456C1D3A6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604B2-C01E-4278-9C08-8F882556C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1DDC0-D57F-43AC-86CD-975281736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1874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A0FFB-48F8-4EF8-AEC4-A5CDE7FED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4B9BF6-1082-4F68-BEFF-311829D2FB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9248EE-C336-42A0-B369-56070F82E8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863986-D5B5-437E-8E95-5CDB1C2B4C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DBFCA8-FDF3-4C45-AA7A-13E4AFA39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57015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46A75-54A8-4BD6-A7B1-D0899E8330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C0AC64-8EF2-4ABC-B88C-4A38DEC1DF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ADE525-4407-4CFD-BA00-6B54EDB1EB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68E259-96B9-421E-9A2F-2E9B2A43A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E02314-C9C9-4B37-ACAC-7CF09A9D29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29276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620B9-82EA-4238-9F68-456C1D3A6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604B2-C01E-4278-9C08-8F882556C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1DDC0-D57F-43AC-86CD-975281736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97BE71E-812A-4BA9-9FEF-BD9E0A20C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957" y="365125"/>
            <a:ext cx="11136086" cy="9701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584510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30530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7647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0997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97317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7582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68011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182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11D1E-E7B2-4813-8EE3-510D006F5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666846-3388-4B70-8B03-F91E4E09CA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F8C905-7908-431E-8772-42A7748BBB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A8396F-0CC9-4E2C-9B65-36CAE7333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EB53F-AD19-477D-9F4A-2F3121484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94260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9627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03071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86839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5450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2752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7CAEC-6150-488A-9BC8-0B956DE4E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A567AE-60F0-4FF7-A904-CEE7CA139A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BF053D-2D56-4E88-860D-BD5981C62F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9C5EC-D21E-4197-83EA-C6C742651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044132-D06E-4F14-A84B-CB473E497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1318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08F56C-ADCE-4BCF-B2FD-B7012B6C2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9EA2F1-ABD0-4283-8D3C-9D49F1F9F4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3A1B6-0F9B-4B43-AE76-DF3C74BE67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5BF4EE-2001-4640-84A1-79CC25B45D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15E6EB-2E00-43AA-8B7F-024198974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44A98E-6A9A-42C4-A722-9F283F9F8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11463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EC4E3-057A-41A7-B875-5A247AD0B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C93FD9-42F8-4435-AFC3-FB44F5A972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87C8FC-E4F3-4199-A560-DDC48C12B7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F26A93-4F06-4AE8-874C-2983F27BC4F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28910-7CE1-45BF-9B69-6AA4E7EDE8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E6F08D-FDD1-4DBA-A7A1-4735DEC70B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A9ED6C-6037-4BBB-B1E8-A36D029E1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7AF61E-B537-4A18-87AC-C2491E889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05547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84769-6E1B-432E-8F93-D04192ABF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5BEB78-24DD-4508-8053-EFE01830E2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BABCE-681E-4A8B-9AA1-A9C0008E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B1259-8F4F-466A-8FBA-C6A464E10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14818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0C0D32-858A-488E-8585-7FB362C175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0D9002-5EF1-4ED4-AB00-93FE970B5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31F401-7B0C-44FD-ACB3-3BBD5D015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14497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89493-CCFA-438C-BAE3-4FD8872A8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43119-A039-4B3E-BFE3-189C90F8FD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1E0208-9D43-42E5-A0BC-60F8B8778F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D10C7F-6F6A-4D99-B6F3-E5CD3E16E5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A3A850-D5CB-42F4-93AC-9D973C7F1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7E5D2C-2A22-482F-BD03-B657C581D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2462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D324A-4CAC-4539-B5CB-2665F079C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29E9B1-8EE5-4525-8E8A-D01F72F3BF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F40C2F-FC59-4D2E-8557-C3133B3A8E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F34144-00B0-4FAF-A37F-23409B1F8A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AEDE3E-1993-4192-988E-3C9172B30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7E2D85-E36B-4A78-B074-528CB7C83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73891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4FAAAAA-ABD3-4ED6-9904-45811A112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957" y="365125"/>
            <a:ext cx="11136086" cy="97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D7A0E2-693F-4637-94EC-0278E1BE20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7957" y="1553029"/>
            <a:ext cx="11136086" cy="46239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FFF65C-AFB6-41B3-BA76-BD793B2098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8571" y="6356350"/>
            <a:ext cx="415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16DD451E-2FAD-41AD-BDC0-8D1DCE3571CD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24FE05E-B6B4-477D-9855-21DA54580DB0}"/>
              </a:ext>
            </a:extLst>
          </p:cNvPr>
          <p:cNvSpPr/>
          <p:nvPr userDrawn="1"/>
        </p:nvSpPr>
        <p:spPr>
          <a:xfrm>
            <a:off x="0" y="-735511"/>
            <a:ext cx="595085" cy="595085"/>
          </a:xfrm>
          <a:prstGeom prst="ellipse">
            <a:avLst/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7C7904D-6F4E-47D9-AA00-BE136E6BFF2D}"/>
              </a:ext>
            </a:extLst>
          </p:cNvPr>
          <p:cNvSpPr/>
          <p:nvPr userDrawn="1"/>
        </p:nvSpPr>
        <p:spPr>
          <a:xfrm>
            <a:off x="704850" y="-735511"/>
            <a:ext cx="595085" cy="595085"/>
          </a:xfrm>
          <a:prstGeom prst="ellipse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BD65E9B-5EAC-4282-A346-C97CD4F53440}"/>
              </a:ext>
            </a:extLst>
          </p:cNvPr>
          <p:cNvSpPr/>
          <p:nvPr userDrawn="1"/>
        </p:nvSpPr>
        <p:spPr>
          <a:xfrm>
            <a:off x="1438275" y="-735511"/>
            <a:ext cx="595085" cy="595085"/>
          </a:xfrm>
          <a:prstGeom prst="ellipse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223EA73-93AD-4A36-AC34-1CF248205421}"/>
              </a:ext>
            </a:extLst>
          </p:cNvPr>
          <p:cNvSpPr/>
          <p:nvPr userDrawn="1"/>
        </p:nvSpPr>
        <p:spPr>
          <a:xfrm>
            <a:off x="2171700" y="-735511"/>
            <a:ext cx="595085" cy="595085"/>
          </a:xfrm>
          <a:prstGeom prst="ellipse">
            <a:avLst/>
          </a:prstGeom>
          <a:solidFill>
            <a:srgbClr val="10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E786B35-26B5-4107-8165-D95919C5E301}"/>
              </a:ext>
            </a:extLst>
          </p:cNvPr>
          <p:cNvSpPr/>
          <p:nvPr userDrawn="1"/>
        </p:nvSpPr>
        <p:spPr>
          <a:xfrm>
            <a:off x="2895600" y="-735511"/>
            <a:ext cx="595085" cy="595085"/>
          </a:xfrm>
          <a:prstGeom prst="ellipse">
            <a:avLst/>
          </a:pr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9755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pos="3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75469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71542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f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G"/><Relationship Id="rId4" Type="http://schemas.openxmlformats.org/officeDocument/2006/relationships/image" Target="../media/image3.jf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61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366B17-C2D4-46B5-AA70-660C8ED32ABD}"/>
              </a:ext>
            </a:extLst>
          </p:cNvPr>
          <p:cNvSpPr/>
          <p:nvPr/>
        </p:nvSpPr>
        <p:spPr>
          <a:xfrm>
            <a:off x="0" y="4455886"/>
            <a:ext cx="12192000" cy="2438399"/>
          </a:xfrm>
          <a:prstGeom prst="rect">
            <a:avLst/>
          </a:pr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4443DF51-C243-4A59-BBB7-16054E8E0E03}"/>
              </a:ext>
            </a:extLst>
          </p:cNvPr>
          <p:cNvSpPr/>
          <p:nvPr/>
        </p:nvSpPr>
        <p:spPr>
          <a:xfrm>
            <a:off x="5982538" y="5634234"/>
            <a:ext cx="5739561" cy="614149"/>
          </a:xfrm>
          <a:prstGeom prst="ellipse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22908-DC00-46A8-A7B5-C9C58D31F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</a:t>
            </a:fld>
            <a:endParaRPr lang="en-ID"/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3EF79BA9-FA48-4F57-B0F5-214AC066E2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91506" y="968064"/>
            <a:ext cx="5137364" cy="4899976"/>
            <a:chOff x="3543" y="142"/>
            <a:chExt cx="4137" cy="3882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BC28B9A-6DF6-47D1-8A9D-71488568F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" y="3753"/>
              <a:ext cx="119" cy="240"/>
            </a:xfrm>
            <a:custGeom>
              <a:avLst/>
              <a:gdLst>
                <a:gd name="T0" fmla="*/ 0 w 50"/>
                <a:gd name="T1" fmla="*/ 0 h 101"/>
                <a:gd name="T2" fmla="*/ 0 w 50"/>
                <a:gd name="T3" fmla="*/ 101 h 101"/>
                <a:gd name="T4" fmla="*/ 23 w 50"/>
                <a:gd name="T5" fmla="*/ 101 h 101"/>
                <a:gd name="T6" fmla="*/ 23 w 50"/>
                <a:gd name="T7" fmla="*/ 69 h 101"/>
                <a:gd name="T8" fmla="*/ 50 w 50"/>
                <a:gd name="T9" fmla="*/ 0 h 101"/>
                <a:gd name="T10" fmla="*/ 0 w 50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10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1" y="81"/>
                    <a:pt x="23" y="69"/>
                  </a:cubicBezTo>
                  <a:cubicBezTo>
                    <a:pt x="25" y="57"/>
                    <a:pt x="50" y="27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BD19E799-80C2-4619-B9B8-FDDAF9DDD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1" y="3753"/>
              <a:ext cx="121" cy="240"/>
            </a:xfrm>
            <a:custGeom>
              <a:avLst/>
              <a:gdLst>
                <a:gd name="T0" fmla="*/ 0 w 51"/>
                <a:gd name="T1" fmla="*/ 0 h 101"/>
                <a:gd name="T2" fmla="*/ 0 w 51"/>
                <a:gd name="T3" fmla="*/ 101 h 101"/>
                <a:gd name="T4" fmla="*/ 23 w 51"/>
                <a:gd name="T5" fmla="*/ 101 h 101"/>
                <a:gd name="T6" fmla="*/ 23 w 51"/>
                <a:gd name="T7" fmla="*/ 69 h 101"/>
                <a:gd name="T8" fmla="*/ 50 w 51"/>
                <a:gd name="T9" fmla="*/ 0 h 101"/>
                <a:gd name="T10" fmla="*/ 0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1" y="81"/>
                    <a:pt x="23" y="69"/>
                  </a:cubicBezTo>
                  <a:cubicBezTo>
                    <a:pt x="26" y="57"/>
                    <a:pt x="51" y="27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3080AD3D-BE73-4C3E-AF2A-47A531729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" y="3753"/>
              <a:ext cx="121" cy="240"/>
            </a:xfrm>
            <a:custGeom>
              <a:avLst/>
              <a:gdLst>
                <a:gd name="T0" fmla="*/ 51 w 51"/>
                <a:gd name="T1" fmla="*/ 0 h 101"/>
                <a:gd name="T2" fmla="*/ 51 w 51"/>
                <a:gd name="T3" fmla="*/ 101 h 101"/>
                <a:gd name="T4" fmla="*/ 27 w 51"/>
                <a:gd name="T5" fmla="*/ 101 h 101"/>
                <a:gd name="T6" fmla="*/ 27 w 51"/>
                <a:gd name="T7" fmla="*/ 69 h 101"/>
                <a:gd name="T8" fmla="*/ 1 w 51"/>
                <a:gd name="T9" fmla="*/ 0 h 101"/>
                <a:gd name="T10" fmla="*/ 51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51" y="0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7" y="101"/>
                    <a:pt x="30" y="81"/>
                    <a:pt x="27" y="69"/>
                  </a:cubicBezTo>
                  <a:cubicBezTo>
                    <a:pt x="25" y="57"/>
                    <a:pt x="0" y="27"/>
                    <a:pt x="1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4BFCF74-15C1-4815-BCA0-728082AA0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2" y="3753"/>
              <a:ext cx="121" cy="240"/>
            </a:xfrm>
            <a:custGeom>
              <a:avLst/>
              <a:gdLst>
                <a:gd name="T0" fmla="*/ 51 w 51"/>
                <a:gd name="T1" fmla="*/ 0 h 101"/>
                <a:gd name="T2" fmla="*/ 51 w 51"/>
                <a:gd name="T3" fmla="*/ 101 h 101"/>
                <a:gd name="T4" fmla="*/ 28 w 51"/>
                <a:gd name="T5" fmla="*/ 101 h 101"/>
                <a:gd name="T6" fmla="*/ 28 w 51"/>
                <a:gd name="T7" fmla="*/ 69 h 101"/>
                <a:gd name="T8" fmla="*/ 1 w 51"/>
                <a:gd name="T9" fmla="*/ 0 h 101"/>
                <a:gd name="T10" fmla="*/ 51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51" y="0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8" y="101"/>
                    <a:pt x="30" y="81"/>
                    <a:pt x="28" y="69"/>
                  </a:cubicBezTo>
                  <a:cubicBezTo>
                    <a:pt x="26" y="57"/>
                    <a:pt x="0" y="27"/>
                    <a:pt x="1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4285CCF7-04BB-4A45-ADCC-0D5482E2D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3" y="2578"/>
              <a:ext cx="1318" cy="1185"/>
            </a:xfrm>
            <a:prstGeom prst="rect">
              <a:avLst/>
            </a:prstGeom>
            <a:solidFill>
              <a:srgbClr val="0D616C"/>
            </a:solidFill>
            <a:ln w="25400">
              <a:solidFill>
                <a:srgbClr val="002E3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CD3621F6-F86D-44CB-8323-5F6AE29FE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" y="2578"/>
              <a:ext cx="353" cy="1185"/>
            </a:xfrm>
            <a:custGeom>
              <a:avLst/>
              <a:gdLst>
                <a:gd name="T0" fmla="*/ 0 w 353"/>
                <a:gd name="T1" fmla="*/ 0 h 1185"/>
                <a:gd name="T2" fmla="*/ 9 w 353"/>
                <a:gd name="T3" fmla="*/ 1185 h 1185"/>
                <a:gd name="T4" fmla="*/ 353 w 353"/>
                <a:gd name="T5" fmla="*/ 1185 h 1185"/>
                <a:gd name="T6" fmla="*/ 353 w 353"/>
                <a:gd name="T7" fmla="*/ 0 h 1185"/>
                <a:gd name="T8" fmla="*/ 0 w 353"/>
                <a:gd name="T9" fmla="*/ 0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1185">
                  <a:moveTo>
                    <a:pt x="0" y="0"/>
                  </a:moveTo>
                  <a:lnTo>
                    <a:pt x="9" y="1185"/>
                  </a:lnTo>
                  <a:lnTo>
                    <a:pt x="353" y="1185"/>
                  </a:lnTo>
                  <a:lnTo>
                    <a:pt x="3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9F44CA29-28CE-4328-A762-AE4E29923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" y="2666"/>
              <a:ext cx="845" cy="301"/>
            </a:xfrm>
            <a:prstGeom prst="rect">
              <a:avLst/>
            </a:pr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D5FC0D6E-71FB-4D8E-AEEE-4004037166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" y="3027"/>
              <a:ext cx="845" cy="301"/>
            </a:xfrm>
            <a:prstGeom prst="rect">
              <a:avLst/>
            </a:pr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E3D076CD-18A0-4BC5-AA0F-A01C582D91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" y="3388"/>
              <a:ext cx="845" cy="301"/>
            </a:xfrm>
            <a:prstGeom prst="rect">
              <a:avLst/>
            </a:pr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DDED8157-758D-4AB6-9A51-AAE9772A5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0" y="2239"/>
              <a:ext cx="508" cy="339"/>
            </a:xfrm>
            <a:custGeom>
              <a:avLst/>
              <a:gdLst>
                <a:gd name="T0" fmla="*/ 38 w 508"/>
                <a:gd name="T1" fmla="*/ 0 h 339"/>
                <a:gd name="T2" fmla="*/ 0 w 508"/>
                <a:gd name="T3" fmla="*/ 339 h 339"/>
                <a:gd name="T4" fmla="*/ 468 w 508"/>
                <a:gd name="T5" fmla="*/ 339 h 339"/>
                <a:gd name="T6" fmla="*/ 508 w 508"/>
                <a:gd name="T7" fmla="*/ 0 h 339"/>
                <a:gd name="T8" fmla="*/ 38 w 508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339">
                  <a:moveTo>
                    <a:pt x="38" y="0"/>
                  </a:moveTo>
                  <a:lnTo>
                    <a:pt x="0" y="339"/>
                  </a:lnTo>
                  <a:lnTo>
                    <a:pt x="468" y="339"/>
                  </a:lnTo>
                  <a:lnTo>
                    <a:pt x="508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40AC5F13-3B50-4A5E-8A56-D93FC9779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0" y="2239"/>
              <a:ext cx="508" cy="339"/>
            </a:xfrm>
            <a:custGeom>
              <a:avLst/>
              <a:gdLst>
                <a:gd name="T0" fmla="*/ 38 w 508"/>
                <a:gd name="T1" fmla="*/ 0 h 339"/>
                <a:gd name="T2" fmla="*/ 0 w 508"/>
                <a:gd name="T3" fmla="*/ 339 h 339"/>
                <a:gd name="T4" fmla="*/ 468 w 508"/>
                <a:gd name="T5" fmla="*/ 339 h 339"/>
                <a:gd name="T6" fmla="*/ 508 w 508"/>
                <a:gd name="T7" fmla="*/ 0 h 339"/>
                <a:gd name="T8" fmla="*/ 38 w 508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339">
                  <a:moveTo>
                    <a:pt x="38" y="0"/>
                  </a:moveTo>
                  <a:lnTo>
                    <a:pt x="0" y="339"/>
                  </a:lnTo>
                  <a:lnTo>
                    <a:pt x="468" y="339"/>
                  </a:lnTo>
                  <a:lnTo>
                    <a:pt x="508" y="0"/>
                  </a:lnTo>
                  <a:lnTo>
                    <a:pt x="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60E0C3E5-C3A9-4488-8C90-98B20F3F5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2262"/>
              <a:ext cx="455" cy="297"/>
            </a:xfrm>
            <a:custGeom>
              <a:avLst/>
              <a:gdLst>
                <a:gd name="T0" fmla="*/ 35 w 455"/>
                <a:gd name="T1" fmla="*/ 0 h 297"/>
                <a:gd name="T2" fmla="*/ 0 w 455"/>
                <a:gd name="T3" fmla="*/ 297 h 297"/>
                <a:gd name="T4" fmla="*/ 422 w 455"/>
                <a:gd name="T5" fmla="*/ 297 h 297"/>
                <a:gd name="T6" fmla="*/ 455 w 455"/>
                <a:gd name="T7" fmla="*/ 0 h 297"/>
                <a:gd name="T8" fmla="*/ 35 w 455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97">
                  <a:moveTo>
                    <a:pt x="35" y="0"/>
                  </a:moveTo>
                  <a:lnTo>
                    <a:pt x="0" y="297"/>
                  </a:lnTo>
                  <a:lnTo>
                    <a:pt x="422" y="297"/>
                  </a:lnTo>
                  <a:lnTo>
                    <a:pt x="455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C018D719-E85A-424D-8C9C-E0A3241FE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2262"/>
              <a:ext cx="455" cy="297"/>
            </a:xfrm>
            <a:custGeom>
              <a:avLst/>
              <a:gdLst>
                <a:gd name="T0" fmla="*/ 35 w 455"/>
                <a:gd name="T1" fmla="*/ 0 h 297"/>
                <a:gd name="T2" fmla="*/ 0 w 455"/>
                <a:gd name="T3" fmla="*/ 297 h 297"/>
                <a:gd name="T4" fmla="*/ 422 w 455"/>
                <a:gd name="T5" fmla="*/ 297 h 297"/>
                <a:gd name="T6" fmla="*/ 455 w 455"/>
                <a:gd name="T7" fmla="*/ 0 h 297"/>
                <a:gd name="T8" fmla="*/ 35 w 455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97">
                  <a:moveTo>
                    <a:pt x="35" y="0"/>
                  </a:moveTo>
                  <a:lnTo>
                    <a:pt x="0" y="297"/>
                  </a:lnTo>
                  <a:lnTo>
                    <a:pt x="422" y="297"/>
                  </a:lnTo>
                  <a:lnTo>
                    <a:pt x="455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41ADD6A3-16B0-4F32-8E51-5D683CC6E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" y="2312"/>
              <a:ext cx="280" cy="197"/>
            </a:xfrm>
            <a:custGeom>
              <a:avLst/>
              <a:gdLst>
                <a:gd name="T0" fmla="*/ 23 w 280"/>
                <a:gd name="T1" fmla="*/ 0 h 197"/>
                <a:gd name="T2" fmla="*/ 0 w 280"/>
                <a:gd name="T3" fmla="*/ 197 h 197"/>
                <a:gd name="T4" fmla="*/ 268 w 280"/>
                <a:gd name="T5" fmla="*/ 197 h 197"/>
                <a:gd name="T6" fmla="*/ 280 w 280"/>
                <a:gd name="T7" fmla="*/ 0 h 197"/>
                <a:gd name="T8" fmla="*/ 23 w 280"/>
                <a:gd name="T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197">
                  <a:moveTo>
                    <a:pt x="23" y="0"/>
                  </a:moveTo>
                  <a:lnTo>
                    <a:pt x="0" y="197"/>
                  </a:lnTo>
                  <a:lnTo>
                    <a:pt x="268" y="197"/>
                  </a:lnTo>
                  <a:lnTo>
                    <a:pt x="28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CBF3B3AE-EEEB-4BAB-8DFF-2D70C4917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" y="2386"/>
              <a:ext cx="119" cy="192"/>
            </a:xfrm>
            <a:custGeom>
              <a:avLst/>
              <a:gdLst>
                <a:gd name="T0" fmla="*/ 21 w 119"/>
                <a:gd name="T1" fmla="*/ 0 h 192"/>
                <a:gd name="T2" fmla="*/ 119 w 119"/>
                <a:gd name="T3" fmla="*/ 192 h 192"/>
                <a:gd name="T4" fmla="*/ 0 w 119"/>
                <a:gd name="T5" fmla="*/ 192 h 192"/>
                <a:gd name="T6" fmla="*/ 21 w 119"/>
                <a:gd name="T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92">
                  <a:moveTo>
                    <a:pt x="21" y="0"/>
                  </a:moveTo>
                  <a:lnTo>
                    <a:pt x="119" y="192"/>
                  </a:lnTo>
                  <a:lnTo>
                    <a:pt x="0" y="192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6D74DCCB-6350-4FA3-AF32-4715947D9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" y="2386"/>
              <a:ext cx="119" cy="192"/>
            </a:xfrm>
            <a:custGeom>
              <a:avLst/>
              <a:gdLst>
                <a:gd name="T0" fmla="*/ 21 w 119"/>
                <a:gd name="T1" fmla="*/ 0 h 192"/>
                <a:gd name="T2" fmla="*/ 119 w 119"/>
                <a:gd name="T3" fmla="*/ 192 h 192"/>
                <a:gd name="T4" fmla="*/ 0 w 119"/>
                <a:gd name="T5" fmla="*/ 192 h 192"/>
                <a:gd name="T6" fmla="*/ 21 w 119"/>
                <a:gd name="T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92">
                  <a:moveTo>
                    <a:pt x="21" y="0"/>
                  </a:moveTo>
                  <a:lnTo>
                    <a:pt x="119" y="192"/>
                  </a:lnTo>
                  <a:lnTo>
                    <a:pt x="0" y="192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" name="Oval 21">
              <a:extLst>
                <a:ext uri="{FF2B5EF4-FFF2-40B4-BE49-F238E27FC236}">
                  <a16:creationId xmlns:a16="http://schemas.microsoft.com/office/drawing/2014/main" id="{9575D191-4085-4117-8850-CD142561E1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" y="2801"/>
              <a:ext cx="61" cy="62"/>
            </a:xfrm>
            <a:prstGeom prst="ellipse">
              <a:avLst/>
            </a:pr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" name="Oval 22">
              <a:extLst>
                <a:ext uri="{FF2B5EF4-FFF2-40B4-BE49-F238E27FC236}">
                  <a16:creationId xmlns:a16="http://schemas.microsoft.com/office/drawing/2014/main" id="{2DFC39B5-CBC9-48F7-B65F-5D3353BC2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" y="3167"/>
              <a:ext cx="61" cy="62"/>
            </a:xfrm>
            <a:prstGeom prst="ellipse">
              <a:avLst/>
            </a:pr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" name="Oval 23">
              <a:extLst>
                <a:ext uri="{FF2B5EF4-FFF2-40B4-BE49-F238E27FC236}">
                  <a16:creationId xmlns:a16="http://schemas.microsoft.com/office/drawing/2014/main" id="{3CC92ECB-BE1C-4F9F-BA16-65723C6DC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" y="3530"/>
              <a:ext cx="61" cy="62"/>
            </a:xfrm>
            <a:prstGeom prst="ellipse">
              <a:avLst/>
            </a:pr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4B6CBF1-BC28-4752-9BC0-832CE9B62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" y="898"/>
              <a:ext cx="770" cy="976"/>
            </a:xfrm>
            <a:custGeom>
              <a:avLst/>
              <a:gdLst>
                <a:gd name="T0" fmla="*/ 748 w 770"/>
                <a:gd name="T1" fmla="*/ 7 h 976"/>
                <a:gd name="T2" fmla="*/ 0 w 770"/>
                <a:gd name="T3" fmla="*/ 0 h 976"/>
                <a:gd name="T4" fmla="*/ 22 w 770"/>
                <a:gd name="T5" fmla="*/ 973 h 976"/>
                <a:gd name="T6" fmla="*/ 770 w 770"/>
                <a:gd name="T7" fmla="*/ 976 h 976"/>
                <a:gd name="T8" fmla="*/ 748 w 770"/>
                <a:gd name="T9" fmla="*/ 7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976">
                  <a:moveTo>
                    <a:pt x="748" y="7"/>
                  </a:moveTo>
                  <a:lnTo>
                    <a:pt x="0" y="0"/>
                  </a:lnTo>
                  <a:lnTo>
                    <a:pt x="22" y="973"/>
                  </a:lnTo>
                  <a:lnTo>
                    <a:pt x="770" y="976"/>
                  </a:lnTo>
                  <a:lnTo>
                    <a:pt x="748" y="7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1BD67C85-8859-440C-B819-E91F802CC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922"/>
              <a:ext cx="672" cy="893"/>
            </a:xfrm>
            <a:custGeom>
              <a:avLst/>
              <a:gdLst>
                <a:gd name="T0" fmla="*/ 656 w 672"/>
                <a:gd name="T1" fmla="*/ 19 h 893"/>
                <a:gd name="T2" fmla="*/ 0 w 672"/>
                <a:gd name="T3" fmla="*/ 0 h 893"/>
                <a:gd name="T4" fmla="*/ 19 w 672"/>
                <a:gd name="T5" fmla="*/ 883 h 893"/>
                <a:gd name="T6" fmla="*/ 672 w 672"/>
                <a:gd name="T7" fmla="*/ 893 h 893"/>
                <a:gd name="T8" fmla="*/ 656 w 672"/>
                <a:gd name="T9" fmla="*/ 19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893">
                  <a:moveTo>
                    <a:pt x="656" y="19"/>
                  </a:moveTo>
                  <a:lnTo>
                    <a:pt x="0" y="0"/>
                  </a:lnTo>
                  <a:lnTo>
                    <a:pt x="19" y="883"/>
                  </a:lnTo>
                  <a:lnTo>
                    <a:pt x="672" y="893"/>
                  </a:lnTo>
                  <a:lnTo>
                    <a:pt x="656" y="19"/>
                  </a:lnTo>
                  <a:close/>
                </a:path>
              </a:pathLst>
            </a:cu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FF6834E2-1E99-48A3-AD55-17DEE9123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1067"/>
              <a:ext cx="446" cy="618"/>
            </a:xfrm>
            <a:custGeom>
              <a:avLst/>
              <a:gdLst>
                <a:gd name="T0" fmla="*/ 434 w 446"/>
                <a:gd name="T1" fmla="*/ 8 h 618"/>
                <a:gd name="T2" fmla="*/ 0 w 446"/>
                <a:gd name="T3" fmla="*/ 0 h 618"/>
                <a:gd name="T4" fmla="*/ 11 w 446"/>
                <a:gd name="T5" fmla="*/ 618 h 618"/>
                <a:gd name="T6" fmla="*/ 446 w 446"/>
                <a:gd name="T7" fmla="*/ 608 h 618"/>
                <a:gd name="T8" fmla="*/ 434 w 446"/>
                <a:gd name="T9" fmla="*/ 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618">
                  <a:moveTo>
                    <a:pt x="434" y="8"/>
                  </a:moveTo>
                  <a:lnTo>
                    <a:pt x="0" y="0"/>
                  </a:lnTo>
                  <a:lnTo>
                    <a:pt x="11" y="618"/>
                  </a:lnTo>
                  <a:lnTo>
                    <a:pt x="446" y="608"/>
                  </a:lnTo>
                  <a:lnTo>
                    <a:pt x="434" y="8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CFAF7B80-6AD3-4353-8E69-8874208C4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1064"/>
              <a:ext cx="439" cy="618"/>
            </a:xfrm>
            <a:custGeom>
              <a:avLst/>
              <a:gdLst>
                <a:gd name="T0" fmla="*/ 11 w 439"/>
                <a:gd name="T1" fmla="*/ 618 h 618"/>
                <a:gd name="T2" fmla="*/ 439 w 439"/>
                <a:gd name="T3" fmla="*/ 292 h 618"/>
                <a:gd name="T4" fmla="*/ 0 w 439"/>
                <a:gd name="T5" fmla="*/ 0 h 618"/>
                <a:gd name="T6" fmla="*/ 11 w 439"/>
                <a:gd name="T7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618">
                  <a:moveTo>
                    <a:pt x="11" y="618"/>
                  </a:moveTo>
                  <a:lnTo>
                    <a:pt x="439" y="292"/>
                  </a:lnTo>
                  <a:lnTo>
                    <a:pt x="0" y="0"/>
                  </a:lnTo>
                  <a:lnTo>
                    <a:pt x="11" y="618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D7EC8663-4591-48E5-9129-481F3F9B1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8" y="142"/>
              <a:ext cx="672" cy="857"/>
            </a:xfrm>
            <a:custGeom>
              <a:avLst/>
              <a:gdLst>
                <a:gd name="T0" fmla="*/ 655 w 672"/>
                <a:gd name="T1" fmla="*/ 7 h 857"/>
                <a:gd name="T2" fmla="*/ 0 w 672"/>
                <a:gd name="T3" fmla="*/ 0 h 857"/>
                <a:gd name="T4" fmla="*/ 17 w 672"/>
                <a:gd name="T5" fmla="*/ 855 h 857"/>
                <a:gd name="T6" fmla="*/ 672 w 672"/>
                <a:gd name="T7" fmla="*/ 857 h 857"/>
                <a:gd name="T8" fmla="*/ 655 w 672"/>
                <a:gd name="T9" fmla="*/ 7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857">
                  <a:moveTo>
                    <a:pt x="655" y="7"/>
                  </a:moveTo>
                  <a:lnTo>
                    <a:pt x="0" y="0"/>
                  </a:lnTo>
                  <a:lnTo>
                    <a:pt x="17" y="855"/>
                  </a:lnTo>
                  <a:lnTo>
                    <a:pt x="672" y="857"/>
                  </a:lnTo>
                  <a:lnTo>
                    <a:pt x="655" y="7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EB78CA34-0430-47F0-BB59-813165B32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" y="170"/>
              <a:ext cx="591" cy="784"/>
            </a:xfrm>
            <a:custGeom>
              <a:avLst/>
              <a:gdLst>
                <a:gd name="T0" fmla="*/ 575 w 591"/>
                <a:gd name="T1" fmla="*/ 17 h 784"/>
                <a:gd name="T2" fmla="*/ 0 w 591"/>
                <a:gd name="T3" fmla="*/ 0 h 784"/>
                <a:gd name="T4" fmla="*/ 17 w 591"/>
                <a:gd name="T5" fmla="*/ 777 h 784"/>
                <a:gd name="T6" fmla="*/ 591 w 591"/>
                <a:gd name="T7" fmla="*/ 784 h 784"/>
                <a:gd name="T8" fmla="*/ 575 w 591"/>
                <a:gd name="T9" fmla="*/ 1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1" h="784">
                  <a:moveTo>
                    <a:pt x="575" y="17"/>
                  </a:moveTo>
                  <a:lnTo>
                    <a:pt x="0" y="0"/>
                  </a:lnTo>
                  <a:lnTo>
                    <a:pt x="17" y="777"/>
                  </a:lnTo>
                  <a:lnTo>
                    <a:pt x="591" y="784"/>
                  </a:lnTo>
                  <a:lnTo>
                    <a:pt x="575" y="17"/>
                  </a:lnTo>
                  <a:close/>
                </a:path>
              </a:pathLst>
            </a:cu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3D02047A-4C27-4E9D-B9D2-E8DB409DA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1" y="296"/>
              <a:ext cx="392" cy="542"/>
            </a:xfrm>
            <a:custGeom>
              <a:avLst/>
              <a:gdLst>
                <a:gd name="T0" fmla="*/ 382 w 392"/>
                <a:gd name="T1" fmla="*/ 5 h 542"/>
                <a:gd name="T2" fmla="*/ 0 w 392"/>
                <a:gd name="T3" fmla="*/ 0 h 542"/>
                <a:gd name="T4" fmla="*/ 12 w 392"/>
                <a:gd name="T5" fmla="*/ 542 h 542"/>
                <a:gd name="T6" fmla="*/ 392 w 392"/>
                <a:gd name="T7" fmla="*/ 532 h 542"/>
                <a:gd name="T8" fmla="*/ 382 w 392"/>
                <a:gd name="T9" fmla="*/ 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542">
                  <a:moveTo>
                    <a:pt x="382" y="5"/>
                  </a:moveTo>
                  <a:lnTo>
                    <a:pt x="0" y="0"/>
                  </a:lnTo>
                  <a:lnTo>
                    <a:pt x="12" y="542"/>
                  </a:lnTo>
                  <a:lnTo>
                    <a:pt x="392" y="532"/>
                  </a:lnTo>
                  <a:lnTo>
                    <a:pt x="382" y="5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91BCDAD-F243-4CD6-976C-71FCD8D84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1" y="296"/>
              <a:ext cx="387" cy="542"/>
            </a:xfrm>
            <a:custGeom>
              <a:avLst/>
              <a:gdLst>
                <a:gd name="T0" fmla="*/ 12 w 387"/>
                <a:gd name="T1" fmla="*/ 542 h 542"/>
                <a:gd name="T2" fmla="*/ 387 w 387"/>
                <a:gd name="T3" fmla="*/ 254 h 542"/>
                <a:gd name="T4" fmla="*/ 0 w 387"/>
                <a:gd name="T5" fmla="*/ 0 h 542"/>
                <a:gd name="T6" fmla="*/ 12 w 387"/>
                <a:gd name="T7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7" h="542">
                  <a:moveTo>
                    <a:pt x="12" y="542"/>
                  </a:moveTo>
                  <a:lnTo>
                    <a:pt x="387" y="254"/>
                  </a:lnTo>
                  <a:lnTo>
                    <a:pt x="0" y="0"/>
                  </a:lnTo>
                  <a:lnTo>
                    <a:pt x="12" y="542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3583F7FF-E5D8-42B7-8497-5CC33D811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5" y="3359"/>
              <a:ext cx="166" cy="380"/>
            </a:xfrm>
            <a:custGeom>
              <a:avLst/>
              <a:gdLst>
                <a:gd name="T0" fmla="*/ 1 w 70"/>
                <a:gd name="T1" fmla="*/ 0 h 160"/>
                <a:gd name="T2" fmla="*/ 41 w 70"/>
                <a:gd name="T3" fmla="*/ 160 h 160"/>
                <a:gd name="T4" fmla="*/ 70 w 70"/>
                <a:gd name="T5" fmla="*/ 154 h 160"/>
                <a:gd name="T6" fmla="*/ 31 w 70"/>
                <a:gd name="T7" fmla="*/ 0 h 160"/>
                <a:gd name="T8" fmla="*/ 1 w 70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0">
                  <a:moveTo>
                    <a:pt x="1" y="0"/>
                  </a:moveTo>
                  <a:cubicBezTo>
                    <a:pt x="0" y="4"/>
                    <a:pt x="41" y="160"/>
                    <a:pt x="41" y="160"/>
                  </a:cubicBezTo>
                  <a:cubicBezTo>
                    <a:pt x="70" y="154"/>
                    <a:pt x="70" y="154"/>
                    <a:pt x="70" y="154"/>
                  </a:cubicBezTo>
                  <a:cubicBezTo>
                    <a:pt x="31" y="0"/>
                    <a:pt x="31" y="0"/>
                    <a:pt x="3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52DDE89E-0534-4EBD-8D7F-AE2CC748C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4" y="3307"/>
              <a:ext cx="207" cy="432"/>
            </a:xfrm>
            <a:custGeom>
              <a:avLst/>
              <a:gdLst>
                <a:gd name="T0" fmla="*/ 133 w 207"/>
                <a:gd name="T1" fmla="*/ 0 h 432"/>
                <a:gd name="T2" fmla="*/ 0 w 207"/>
                <a:gd name="T3" fmla="*/ 432 h 432"/>
                <a:gd name="T4" fmla="*/ 79 w 207"/>
                <a:gd name="T5" fmla="*/ 432 h 432"/>
                <a:gd name="T6" fmla="*/ 207 w 207"/>
                <a:gd name="T7" fmla="*/ 31 h 432"/>
                <a:gd name="T8" fmla="*/ 133 w 207"/>
                <a:gd name="T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432">
                  <a:moveTo>
                    <a:pt x="133" y="0"/>
                  </a:moveTo>
                  <a:lnTo>
                    <a:pt x="0" y="432"/>
                  </a:lnTo>
                  <a:lnTo>
                    <a:pt x="79" y="432"/>
                  </a:lnTo>
                  <a:lnTo>
                    <a:pt x="207" y="31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67EEEA8C-2268-42F2-B7EF-4E0D7829A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6" y="3238"/>
              <a:ext cx="228" cy="501"/>
            </a:xfrm>
            <a:custGeom>
              <a:avLst/>
              <a:gdLst>
                <a:gd name="T0" fmla="*/ 155 w 228"/>
                <a:gd name="T1" fmla="*/ 0 h 501"/>
                <a:gd name="T2" fmla="*/ 0 w 228"/>
                <a:gd name="T3" fmla="*/ 501 h 501"/>
                <a:gd name="T4" fmla="*/ 79 w 228"/>
                <a:gd name="T5" fmla="*/ 501 h 501"/>
                <a:gd name="T6" fmla="*/ 228 w 228"/>
                <a:gd name="T7" fmla="*/ 31 h 501"/>
                <a:gd name="T8" fmla="*/ 155 w 228"/>
                <a:gd name="T9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501">
                  <a:moveTo>
                    <a:pt x="155" y="0"/>
                  </a:moveTo>
                  <a:lnTo>
                    <a:pt x="0" y="501"/>
                  </a:lnTo>
                  <a:lnTo>
                    <a:pt x="79" y="501"/>
                  </a:lnTo>
                  <a:lnTo>
                    <a:pt x="228" y="3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4E97C868-CCD0-411F-A746-15D519690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5" y="3708"/>
              <a:ext cx="546" cy="271"/>
            </a:xfrm>
            <a:custGeom>
              <a:avLst/>
              <a:gdLst>
                <a:gd name="T0" fmla="*/ 0 w 546"/>
                <a:gd name="T1" fmla="*/ 0 h 271"/>
                <a:gd name="T2" fmla="*/ 78 w 546"/>
                <a:gd name="T3" fmla="*/ 271 h 271"/>
                <a:gd name="T4" fmla="*/ 472 w 546"/>
                <a:gd name="T5" fmla="*/ 271 h 271"/>
                <a:gd name="T6" fmla="*/ 546 w 546"/>
                <a:gd name="T7" fmla="*/ 0 h 271"/>
                <a:gd name="T8" fmla="*/ 0 w 546"/>
                <a:gd name="T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6" h="271">
                  <a:moveTo>
                    <a:pt x="0" y="0"/>
                  </a:moveTo>
                  <a:lnTo>
                    <a:pt x="78" y="271"/>
                  </a:lnTo>
                  <a:lnTo>
                    <a:pt x="472" y="271"/>
                  </a:lnTo>
                  <a:lnTo>
                    <a:pt x="5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9432550-5699-4E78-9FA5-52824D11F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4" y="3150"/>
              <a:ext cx="195" cy="558"/>
            </a:xfrm>
            <a:custGeom>
              <a:avLst/>
              <a:gdLst>
                <a:gd name="T0" fmla="*/ 82 w 82"/>
                <a:gd name="T1" fmla="*/ 235 h 235"/>
                <a:gd name="T2" fmla="*/ 82 w 82"/>
                <a:gd name="T3" fmla="*/ 234 h 235"/>
                <a:gd name="T4" fmla="*/ 81 w 82"/>
                <a:gd name="T5" fmla="*/ 230 h 235"/>
                <a:gd name="T6" fmla="*/ 78 w 82"/>
                <a:gd name="T7" fmla="*/ 217 h 235"/>
                <a:gd name="T8" fmla="*/ 66 w 82"/>
                <a:gd name="T9" fmla="*/ 167 h 235"/>
                <a:gd name="T10" fmla="*/ 29 w 82"/>
                <a:gd name="T11" fmla="*/ 1 h 235"/>
                <a:gd name="T12" fmla="*/ 30 w 82"/>
                <a:gd name="T13" fmla="*/ 2 h 235"/>
                <a:gd name="T14" fmla="*/ 15 w 82"/>
                <a:gd name="T15" fmla="*/ 2 h 235"/>
                <a:gd name="T16" fmla="*/ 1 w 82"/>
                <a:gd name="T17" fmla="*/ 2 h 235"/>
                <a:gd name="T18" fmla="*/ 2 w 82"/>
                <a:gd name="T19" fmla="*/ 0 h 235"/>
                <a:gd name="T20" fmla="*/ 39 w 82"/>
                <a:gd name="T21" fmla="*/ 167 h 235"/>
                <a:gd name="T22" fmla="*/ 50 w 82"/>
                <a:gd name="T23" fmla="*/ 217 h 235"/>
                <a:gd name="T24" fmla="*/ 53 w 82"/>
                <a:gd name="T25" fmla="*/ 230 h 235"/>
                <a:gd name="T26" fmla="*/ 54 w 82"/>
                <a:gd name="T27" fmla="*/ 234 h 235"/>
                <a:gd name="T28" fmla="*/ 54 w 82"/>
                <a:gd name="T29" fmla="*/ 235 h 235"/>
                <a:gd name="T30" fmla="*/ 54 w 82"/>
                <a:gd name="T31" fmla="*/ 234 h 235"/>
                <a:gd name="T32" fmla="*/ 53 w 82"/>
                <a:gd name="T33" fmla="*/ 230 h 235"/>
                <a:gd name="T34" fmla="*/ 50 w 82"/>
                <a:gd name="T35" fmla="*/ 217 h 235"/>
                <a:gd name="T36" fmla="*/ 38 w 82"/>
                <a:gd name="T37" fmla="*/ 167 h 235"/>
                <a:gd name="T38" fmla="*/ 0 w 82"/>
                <a:gd name="T39" fmla="*/ 1 h 235"/>
                <a:gd name="T40" fmla="*/ 0 w 82"/>
                <a:gd name="T41" fmla="*/ 0 h 235"/>
                <a:gd name="T42" fmla="*/ 1 w 82"/>
                <a:gd name="T43" fmla="*/ 0 h 235"/>
                <a:gd name="T44" fmla="*/ 15 w 82"/>
                <a:gd name="T45" fmla="*/ 0 h 235"/>
                <a:gd name="T46" fmla="*/ 30 w 82"/>
                <a:gd name="T47" fmla="*/ 0 h 235"/>
                <a:gd name="T48" fmla="*/ 31 w 82"/>
                <a:gd name="T49" fmla="*/ 0 h 235"/>
                <a:gd name="T50" fmla="*/ 31 w 82"/>
                <a:gd name="T51" fmla="*/ 0 h 235"/>
                <a:gd name="T52" fmla="*/ 68 w 82"/>
                <a:gd name="T53" fmla="*/ 167 h 235"/>
                <a:gd name="T54" fmla="*/ 78 w 82"/>
                <a:gd name="T55" fmla="*/ 217 h 235"/>
                <a:gd name="T56" fmla="*/ 81 w 82"/>
                <a:gd name="T57" fmla="*/ 230 h 235"/>
                <a:gd name="T58" fmla="*/ 82 w 82"/>
                <a:gd name="T59" fmla="*/ 234 h 235"/>
                <a:gd name="T60" fmla="*/ 82 w 82"/>
                <a:gd name="T61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2" h="235">
                  <a:moveTo>
                    <a:pt x="82" y="235"/>
                  </a:moveTo>
                  <a:cubicBezTo>
                    <a:pt x="82" y="235"/>
                    <a:pt x="82" y="235"/>
                    <a:pt x="82" y="234"/>
                  </a:cubicBezTo>
                  <a:cubicBezTo>
                    <a:pt x="81" y="233"/>
                    <a:pt x="81" y="232"/>
                    <a:pt x="81" y="230"/>
                  </a:cubicBezTo>
                  <a:cubicBezTo>
                    <a:pt x="80" y="227"/>
                    <a:pt x="79" y="223"/>
                    <a:pt x="78" y="217"/>
                  </a:cubicBezTo>
                  <a:cubicBezTo>
                    <a:pt x="75" y="205"/>
                    <a:pt x="71" y="188"/>
                    <a:pt x="66" y="167"/>
                  </a:cubicBezTo>
                  <a:cubicBezTo>
                    <a:pt x="57" y="125"/>
                    <a:pt x="44" y="66"/>
                    <a:pt x="29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5" y="2"/>
                    <a:pt x="20" y="2"/>
                    <a:pt x="15" y="2"/>
                  </a:cubicBezTo>
                  <a:cubicBezTo>
                    <a:pt x="10" y="2"/>
                    <a:pt x="5" y="2"/>
                    <a:pt x="1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7" y="66"/>
                    <a:pt x="30" y="124"/>
                    <a:pt x="39" y="167"/>
                  </a:cubicBezTo>
                  <a:cubicBezTo>
                    <a:pt x="44" y="188"/>
                    <a:pt x="48" y="205"/>
                    <a:pt x="50" y="217"/>
                  </a:cubicBezTo>
                  <a:cubicBezTo>
                    <a:pt x="52" y="223"/>
                    <a:pt x="53" y="227"/>
                    <a:pt x="53" y="230"/>
                  </a:cubicBezTo>
                  <a:cubicBezTo>
                    <a:pt x="54" y="232"/>
                    <a:pt x="54" y="233"/>
                    <a:pt x="54" y="234"/>
                  </a:cubicBezTo>
                  <a:cubicBezTo>
                    <a:pt x="54" y="235"/>
                    <a:pt x="54" y="235"/>
                    <a:pt x="54" y="235"/>
                  </a:cubicBezTo>
                  <a:cubicBezTo>
                    <a:pt x="54" y="235"/>
                    <a:pt x="54" y="235"/>
                    <a:pt x="54" y="234"/>
                  </a:cubicBezTo>
                  <a:cubicBezTo>
                    <a:pt x="54" y="233"/>
                    <a:pt x="53" y="232"/>
                    <a:pt x="53" y="230"/>
                  </a:cubicBezTo>
                  <a:cubicBezTo>
                    <a:pt x="52" y="227"/>
                    <a:pt x="51" y="223"/>
                    <a:pt x="50" y="217"/>
                  </a:cubicBezTo>
                  <a:cubicBezTo>
                    <a:pt x="47" y="205"/>
                    <a:pt x="43" y="188"/>
                    <a:pt x="38" y="167"/>
                  </a:cubicBezTo>
                  <a:cubicBezTo>
                    <a:pt x="28" y="125"/>
                    <a:pt x="15" y="6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10" y="0"/>
                    <a:pt x="15" y="0"/>
                  </a:cubicBezTo>
                  <a:cubicBezTo>
                    <a:pt x="20" y="0"/>
                    <a:pt x="25" y="0"/>
                    <a:pt x="3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5" y="66"/>
                    <a:pt x="58" y="124"/>
                    <a:pt x="68" y="167"/>
                  </a:cubicBezTo>
                  <a:cubicBezTo>
                    <a:pt x="72" y="188"/>
                    <a:pt x="76" y="205"/>
                    <a:pt x="78" y="217"/>
                  </a:cubicBezTo>
                  <a:cubicBezTo>
                    <a:pt x="80" y="223"/>
                    <a:pt x="80" y="227"/>
                    <a:pt x="81" y="230"/>
                  </a:cubicBezTo>
                  <a:cubicBezTo>
                    <a:pt x="81" y="232"/>
                    <a:pt x="82" y="233"/>
                    <a:pt x="82" y="234"/>
                  </a:cubicBezTo>
                  <a:cubicBezTo>
                    <a:pt x="82" y="235"/>
                    <a:pt x="82" y="235"/>
                    <a:pt x="82" y="23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0A58E2DD-6BA6-4202-94F9-79F15546F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" y="1393"/>
              <a:ext cx="676" cy="1154"/>
            </a:xfrm>
            <a:custGeom>
              <a:avLst/>
              <a:gdLst>
                <a:gd name="T0" fmla="*/ 243 w 285"/>
                <a:gd name="T1" fmla="*/ 8 h 486"/>
                <a:gd name="T2" fmla="*/ 185 w 285"/>
                <a:gd name="T3" fmla="*/ 144 h 486"/>
                <a:gd name="T4" fmla="*/ 167 w 285"/>
                <a:gd name="T5" fmla="*/ 148 h 486"/>
                <a:gd name="T6" fmla="*/ 123 w 285"/>
                <a:gd name="T7" fmla="*/ 134 h 486"/>
                <a:gd name="T8" fmla="*/ 134 w 285"/>
                <a:gd name="T9" fmla="*/ 241 h 486"/>
                <a:gd name="T10" fmla="*/ 124 w 285"/>
                <a:gd name="T11" fmla="*/ 260 h 486"/>
                <a:gd name="T12" fmla="*/ 70 w 285"/>
                <a:gd name="T13" fmla="*/ 235 h 486"/>
                <a:gd name="T14" fmla="*/ 71 w 285"/>
                <a:gd name="T15" fmla="*/ 325 h 486"/>
                <a:gd name="T16" fmla="*/ 70 w 285"/>
                <a:gd name="T17" fmla="*/ 345 h 486"/>
                <a:gd name="T18" fmla="*/ 31 w 285"/>
                <a:gd name="T19" fmla="*/ 314 h 486"/>
                <a:gd name="T20" fmla="*/ 2 w 285"/>
                <a:gd name="T21" fmla="*/ 331 h 486"/>
                <a:gd name="T22" fmla="*/ 64 w 285"/>
                <a:gd name="T23" fmla="*/ 464 h 486"/>
                <a:gd name="T24" fmla="*/ 105 w 285"/>
                <a:gd name="T25" fmla="*/ 481 h 486"/>
                <a:gd name="T26" fmla="*/ 240 w 285"/>
                <a:gd name="T27" fmla="*/ 424 h 486"/>
                <a:gd name="T28" fmla="*/ 231 w 285"/>
                <a:gd name="T29" fmla="*/ 392 h 486"/>
                <a:gd name="T30" fmla="*/ 181 w 285"/>
                <a:gd name="T31" fmla="*/ 388 h 486"/>
                <a:gd name="T32" fmla="*/ 193 w 285"/>
                <a:gd name="T33" fmla="*/ 373 h 486"/>
                <a:gd name="T34" fmla="*/ 255 w 285"/>
                <a:gd name="T35" fmla="*/ 306 h 486"/>
                <a:gd name="T36" fmla="*/ 197 w 285"/>
                <a:gd name="T37" fmla="*/ 289 h 486"/>
                <a:gd name="T38" fmla="*/ 203 w 285"/>
                <a:gd name="T39" fmla="*/ 268 h 486"/>
                <a:gd name="T40" fmla="*/ 283 w 285"/>
                <a:gd name="T41" fmla="*/ 196 h 486"/>
                <a:gd name="T42" fmla="*/ 250 w 285"/>
                <a:gd name="T43" fmla="*/ 177 h 486"/>
                <a:gd name="T44" fmla="*/ 231 w 285"/>
                <a:gd name="T45" fmla="*/ 162 h 486"/>
                <a:gd name="T46" fmla="*/ 279 w 285"/>
                <a:gd name="T47" fmla="*/ 42 h 486"/>
                <a:gd name="T48" fmla="*/ 266 w 285"/>
                <a:gd name="T49" fmla="*/ 2 h 486"/>
                <a:gd name="T50" fmla="*/ 280 w 285"/>
                <a:gd name="T51" fmla="*/ 42 h 486"/>
                <a:gd name="T52" fmla="*/ 232 w 285"/>
                <a:gd name="T53" fmla="*/ 169 h 486"/>
                <a:gd name="T54" fmla="*/ 265 w 285"/>
                <a:gd name="T55" fmla="*/ 175 h 486"/>
                <a:gd name="T56" fmla="*/ 277 w 285"/>
                <a:gd name="T57" fmla="*/ 212 h 486"/>
                <a:gd name="T58" fmla="*/ 197 w 285"/>
                <a:gd name="T59" fmla="*/ 276 h 486"/>
                <a:gd name="T60" fmla="*/ 198 w 285"/>
                <a:gd name="T61" fmla="*/ 287 h 486"/>
                <a:gd name="T62" fmla="*/ 256 w 285"/>
                <a:gd name="T63" fmla="*/ 305 h 486"/>
                <a:gd name="T64" fmla="*/ 194 w 285"/>
                <a:gd name="T65" fmla="*/ 375 h 486"/>
                <a:gd name="T66" fmla="*/ 183 w 285"/>
                <a:gd name="T67" fmla="*/ 387 h 486"/>
                <a:gd name="T68" fmla="*/ 231 w 285"/>
                <a:gd name="T69" fmla="*/ 390 h 486"/>
                <a:gd name="T70" fmla="*/ 242 w 285"/>
                <a:gd name="T71" fmla="*/ 425 h 486"/>
                <a:gd name="T72" fmla="*/ 105 w 285"/>
                <a:gd name="T73" fmla="*/ 483 h 486"/>
                <a:gd name="T74" fmla="*/ 79 w 285"/>
                <a:gd name="T75" fmla="*/ 486 h 486"/>
                <a:gd name="T76" fmla="*/ 3 w 285"/>
                <a:gd name="T77" fmla="*/ 356 h 486"/>
                <a:gd name="T78" fmla="*/ 21 w 285"/>
                <a:gd name="T79" fmla="*/ 307 h 486"/>
                <a:gd name="T80" fmla="*/ 68 w 285"/>
                <a:gd name="T81" fmla="*/ 342 h 486"/>
                <a:gd name="T82" fmla="*/ 72 w 285"/>
                <a:gd name="T83" fmla="*/ 337 h 486"/>
                <a:gd name="T84" fmla="*/ 61 w 285"/>
                <a:gd name="T85" fmla="*/ 239 h 486"/>
                <a:gd name="T86" fmla="*/ 117 w 285"/>
                <a:gd name="T87" fmla="*/ 253 h 486"/>
                <a:gd name="T88" fmla="*/ 134 w 285"/>
                <a:gd name="T89" fmla="*/ 256 h 486"/>
                <a:gd name="T90" fmla="*/ 122 w 285"/>
                <a:gd name="T91" fmla="*/ 186 h 486"/>
                <a:gd name="T92" fmla="*/ 144 w 285"/>
                <a:gd name="T93" fmla="*/ 126 h 486"/>
                <a:gd name="T94" fmla="*/ 173 w 285"/>
                <a:gd name="T95" fmla="*/ 150 h 486"/>
                <a:gd name="T96" fmla="*/ 207 w 285"/>
                <a:gd name="T97" fmla="*/ 73 h 486"/>
                <a:gd name="T98" fmla="*/ 264 w 285"/>
                <a:gd name="T99" fmla="*/ 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5" h="486">
                  <a:moveTo>
                    <a:pt x="267" y="2"/>
                  </a:moveTo>
                  <a:cubicBezTo>
                    <a:pt x="267" y="2"/>
                    <a:pt x="266" y="2"/>
                    <a:pt x="264" y="1"/>
                  </a:cubicBezTo>
                  <a:cubicBezTo>
                    <a:pt x="262" y="1"/>
                    <a:pt x="259" y="1"/>
                    <a:pt x="255" y="1"/>
                  </a:cubicBezTo>
                  <a:cubicBezTo>
                    <a:pt x="252" y="2"/>
                    <a:pt x="247" y="4"/>
                    <a:pt x="243" y="8"/>
                  </a:cubicBezTo>
                  <a:cubicBezTo>
                    <a:pt x="238" y="11"/>
                    <a:pt x="234" y="17"/>
                    <a:pt x="230" y="23"/>
                  </a:cubicBezTo>
                  <a:cubicBezTo>
                    <a:pt x="222" y="35"/>
                    <a:pt x="215" y="53"/>
                    <a:pt x="208" y="73"/>
                  </a:cubicBezTo>
                  <a:cubicBezTo>
                    <a:pt x="200" y="93"/>
                    <a:pt x="192" y="117"/>
                    <a:pt x="185" y="143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4" y="146"/>
                    <a:pt x="182" y="148"/>
                    <a:pt x="181" y="149"/>
                  </a:cubicBezTo>
                  <a:cubicBezTo>
                    <a:pt x="179" y="151"/>
                    <a:pt x="176" y="152"/>
                    <a:pt x="173" y="152"/>
                  </a:cubicBezTo>
                  <a:cubicBezTo>
                    <a:pt x="171" y="151"/>
                    <a:pt x="168" y="150"/>
                    <a:pt x="167" y="148"/>
                  </a:cubicBezTo>
                  <a:cubicBezTo>
                    <a:pt x="165" y="146"/>
                    <a:pt x="163" y="144"/>
                    <a:pt x="161" y="142"/>
                  </a:cubicBezTo>
                  <a:cubicBezTo>
                    <a:pt x="158" y="139"/>
                    <a:pt x="154" y="135"/>
                    <a:pt x="150" y="132"/>
                  </a:cubicBezTo>
                  <a:cubicBezTo>
                    <a:pt x="146" y="128"/>
                    <a:pt x="141" y="125"/>
                    <a:pt x="136" y="126"/>
                  </a:cubicBezTo>
                  <a:cubicBezTo>
                    <a:pt x="131" y="127"/>
                    <a:pt x="126" y="130"/>
                    <a:pt x="123" y="134"/>
                  </a:cubicBezTo>
                  <a:cubicBezTo>
                    <a:pt x="120" y="139"/>
                    <a:pt x="119" y="145"/>
                    <a:pt x="119" y="150"/>
                  </a:cubicBezTo>
                  <a:cubicBezTo>
                    <a:pt x="118" y="162"/>
                    <a:pt x="121" y="173"/>
                    <a:pt x="123" y="185"/>
                  </a:cubicBezTo>
                  <a:cubicBezTo>
                    <a:pt x="126" y="197"/>
                    <a:pt x="128" y="210"/>
                    <a:pt x="130" y="222"/>
                  </a:cubicBezTo>
                  <a:cubicBezTo>
                    <a:pt x="131" y="228"/>
                    <a:pt x="133" y="235"/>
                    <a:pt x="134" y="241"/>
                  </a:cubicBezTo>
                  <a:cubicBezTo>
                    <a:pt x="134" y="244"/>
                    <a:pt x="135" y="247"/>
                    <a:pt x="136" y="251"/>
                  </a:cubicBezTo>
                  <a:cubicBezTo>
                    <a:pt x="136" y="254"/>
                    <a:pt x="137" y="258"/>
                    <a:pt x="134" y="261"/>
                  </a:cubicBezTo>
                  <a:cubicBezTo>
                    <a:pt x="133" y="263"/>
                    <a:pt x="131" y="263"/>
                    <a:pt x="129" y="263"/>
                  </a:cubicBezTo>
                  <a:cubicBezTo>
                    <a:pt x="127" y="262"/>
                    <a:pt x="126" y="261"/>
                    <a:pt x="124" y="260"/>
                  </a:cubicBezTo>
                  <a:cubicBezTo>
                    <a:pt x="122" y="258"/>
                    <a:pt x="119" y="256"/>
                    <a:pt x="116" y="254"/>
                  </a:cubicBezTo>
                  <a:cubicBezTo>
                    <a:pt x="111" y="250"/>
                    <a:pt x="105" y="246"/>
                    <a:pt x="99" y="243"/>
                  </a:cubicBezTo>
                  <a:cubicBezTo>
                    <a:pt x="93" y="239"/>
                    <a:pt x="87" y="236"/>
                    <a:pt x="80" y="235"/>
                  </a:cubicBezTo>
                  <a:cubicBezTo>
                    <a:pt x="77" y="234"/>
                    <a:pt x="74" y="234"/>
                    <a:pt x="70" y="235"/>
                  </a:cubicBezTo>
                  <a:cubicBezTo>
                    <a:pt x="67" y="236"/>
                    <a:pt x="64" y="238"/>
                    <a:pt x="62" y="241"/>
                  </a:cubicBezTo>
                  <a:cubicBezTo>
                    <a:pt x="58" y="246"/>
                    <a:pt x="57" y="253"/>
                    <a:pt x="57" y="261"/>
                  </a:cubicBezTo>
                  <a:cubicBezTo>
                    <a:pt x="57" y="268"/>
                    <a:pt x="57" y="275"/>
                    <a:pt x="59" y="282"/>
                  </a:cubicBezTo>
                  <a:cubicBezTo>
                    <a:pt x="61" y="297"/>
                    <a:pt x="66" y="311"/>
                    <a:pt x="71" y="325"/>
                  </a:cubicBezTo>
                  <a:cubicBezTo>
                    <a:pt x="72" y="329"/>
                    <a:pt x="74" y="332"/>
                    <a:pt x="74" y="336"/>
                  </a:cubicBezTo>
                  <a:cubicBezTo>
                    <a:pt x="75" y="338"/>
                    <a:pt x="74" y="341"/>
                    <a:pt x="73" y="343"/>
                  </a:cubicBezTo>
                  <a:cubicBezTo>
                    <a:pt x="73" y="343"/>
                    <a:pt x="72" y="343"/>
                    <a:pt x="72" y="344"/>
                  </a:cubicBezTo>
                  <a:cubicBezTo>
                    <a:pt x="71" y="344"/>
                    <a:pt x="71" y="344"/>
                    <a:pt x="70" y="345"/>
                  </a:cubicBezTo>
                  <a:cubicBezTo>
                    <a:pt x="69" y="345"/>
                    <a:pt x="68" y="344"/>
                    <a:pt x="67" y="344"/>
                  </a:cubicBezTo>
                  <a:cubicBezTo>
                    <a:pt x="63" y="342"/>
                    <a:pt x="60" y="339"/>
                    <a:pt x="58" y="337"/>
                  </a:cubicBezTo>
                  <a:cubicBezTo>
                    <a:pt x="55" y="334"/>
                    <a:pt x="52" y="331"/>
                    <a:pt x="49" y="329"/>
                  </a:cubicBezTo>
                  <a:cubicBezTo>
                    <a:pt x="43" y="323"/>
                    <a:pt x="37" y="318"/>
                    <a:pt x="31" y="314"/>
                  </a:cubicBezTo>
                  <a:cubicBezTo>
                    <a:pt x="27" y="312"/>
                    <a:pt x="24" y="310"/>
                    <a:pt x="20" y="309"/>
                  </a:cubicBezTo>
                  <a:cubicBezTo>
                    <a:pt x="17" y="308"/>
                    <a:pt x="13" y="308"/>
                    <a:pt x="10" y="311"/>
                  </a:cubicBezTo>
                  <a:cubicBezTo>
                    <a:pt x="6" y="313"/>
                    <a:pt x="4" y="316"/>
                    <a:pt x="4" y="320"/>
                  </a:cubicBezTo>
                  <a:cubicBezTo>
                    <a:pt x="3" y="324"/>
                    <a:pt x="2" y="328"/>
                    <a:pt x="2" y="331"/>
                  </a:cubicBezTo>
                  <a:cubicBezTo>
                    <a:pt x="2" y="339"/>
                    <a:pt x="3" y="347"/>
                    <a:pt x="5" y="355"/>
                  </a:cubicBezTo>
                  <a:cubicBezTo>
                    <a:pt x="9" y="371"/>
                    <a:pt x="15" y="387"/>
                    <a:pt x="22" y="401"/>
                  </a:cubicBezTo>
                  <a:cubicBezTo>
                    <a:pt x="30" y="416"/>
                    <a:pt x="39" y="431"/>
                    <a:pt x="48" y="444"/>
                  </a:cubicBezTo>
                  <a:cubicBezTo>
                    <a:pt x="53" y="451"/>
                    <a:pt x="59" y="458"/>
                    <a:pt x="64" y="464"/>
                  </a:cubicBezTo>
                  <a:cubicBezTo>
                    <a:pt x="69" y="471"/>
                    <a:pt x="75" y="478"/>
                    <a:pt x="80" y="484"/>
                  </a:cubicBezTo>
                  <a:cubicBezTo>
                    <a:pt x="80" y="485"/>
                    <a:pt x="80" y="485"/>
                    <a:pt x="80" y="485"/>
                  </a:cubicBezTo>
                  <a:cubicBezTo>
                    <a:pt x="79" y="484"/>
                    <a:pt x="79" y="484"/>
                    <a:pt x="79" y="484"/>
                  </a:cubicBezTo>
                  <a:cubicBezTo>
                    <a:pt x="88" y="483"/>
                    <a:pt x="96" y="482"/>
                    <a:pt x="105" y="481"/>
                  </a:cubicBezTo>
                  <a:cubicBezTo>
                    <a:pt x="113" y="479"/>
                    <a:pt x="122" y="478"/>
                    <a:pt x="130" y="476"/>
                  </a:cubicBezTo>
                  <a:cubicBezTo>
                    <a:pt x="146" y="472"/>
                    <a:pt x="163" y="468"/>
                    <a:pt x="178" y="462"/>
                  </a:cubicBezTo>
                  <a:cubicBezTo>
                    <a:pt x="193" y="456"/>
                    <a:pt x="208" y="449"/>
                    <a:pt x="222" y="439"/>
                  </a:cubicBezTo>
                  <a:cubicBezTo>
                    <a:pt x="229" y="435"/>
                    <a:pt x="235" y="430"/>
                    <a:pt x="240" y="424"/>
                  </a:cubicBezTo>
                  <a:cubicBezTo>
                    <a:pt x="243" y="421"/>
                    <a:pt x="245" y="418"/>
                    <a:pt x="247" y="414"/>
                  </a:cubicBezTo>
                  <a:cubicBezTo>
                    <a:pt x="249" y="411"/>
                    <a:pt x="250" y="407"/>
                    <a:pt x="249" y="403"/>
                  </a:cubicBezTo>
                  <a:cubicBezTo>
                    <a:pt x="248" y="400"/>
                    <a:pt x="245" y="397"/>
                    <a:pt x="242" y="395"/>
                  </a:cubicBezTo>
                  <a:cubicBezTo>
                    <a:pt x="238" y="393"/>
                    <a:pt x="235" y="392"/>
                    <a:pt x="231" y="392"/>
                  </a:cubicBezTo>
                  <a:cubicBezTo>
                    <a:pt x="223" y="390"/>
                    <a:pt x="215" y="390"/>
                    <a:pt x="207" y="390"/>
                  </a:cubicBezTo>
                  <a:cubicBezTo>
                    <a:pt x="203" y="390"/>
                    <a:pt x="200" y="390"/>
                    <a:pt x="196" y="390"/>
                  </a:cubicBezTo>
                  <a:cubicBezTo>
                    <a:pt x="192" y="390"/>
                    <a:pt x="188" y="390"/>
                    <a:pt x="184" y="389"/>
                  </a:cubicBezTo>
                  <a:cubicBezTo>
                    <a:pt x="183" y="389"/>
                    <a:pt x="182" y="389"/>
                    <a:pt x="181" y="388"/>
                  </a:cubicBezTo>
                  <a:cubicBezTo>
                    <a:pt x="180" y="387"/>
                    <a:pt x="180" y="387"/>
                    <a:pt x="180" y="386"/>
                  </a:cubicBezTo>
                  <a:cubicBezTo>
                    <a:pt x="180" y="385"/>
                    <a:pt x="180" y="385"/>
                    <a:pt x="180" y="384"/>
                  </a:cubicBezTo>
                  <a:cubicBezTo>
                    <a:pt x="180" y="382"/>
                    <a:pt x="182" y="380"/>
                    <a:pt x="183" y="379"/>
                  </a:cubicBezTo>
                  <a:cubicBezTo>
                    <a:pt x="186" y="376"/>
                    <a:pt x="190" y="375"/>
                    <a:pt x="193" y="373"/>
                  </a:cubicBezTo>
                  <a:cubicBezTo>
                    <a:pt x="207" y="366"/>
                    <a:pt x="220" y="358"/>
                    <a:pt x="231" y="349"/>
                  </a:cubicBezTo>
                  <a:cubicBezTo>
                    <a:pt x="237" y="345"/>
                    <a:pt x="243" y="340"/>
                    <a:pt x="247" y="335"/>
                  </a:cubicBezTo>
                  <a:cubicBezTo>
                    <a:pt x="252" y="329"/>
                    <a:pt x="256" y="323"/>
                    <a:pt x="257" y="316"/>
                  </a:cubicBezTo>
                  <a:cubicBezTo>
                    <a:pt x="257" y="313"/>
                    <a:pt x="256" y="309"/>
                    <a:pt x="255" y="306"/>
                  </a:cubicBezTo>
                  <a:cubicBezTo>
                    <a:pt x="253" y="304"/>
                    <a:pt x="250" y="301"/>
                    <a:pt x="247" y="300"/>
                  </a:cubicBezTo>
                  <a:cubicBezTo>
                    <a:pt x="241" y="296"/>
                    <a:pt x="234" y="294"/>
                    <a:pt x="228" y="293"/>
                  </a:cubicBezTo>
                  <a:cubicBezTo>
                    <a:pt x="221" y="291"/>
                    <a:pt x="214" y="290"/>
                    <a:pt x="208" y="290"/>
                  </a:cubicBezTo>
                  <a:cubicBezTo>
                    <a:pt x="204" y="289"/>
                    <a:pt x="201" y="289"/>
                    <a:pt x="197" y="289"/>
                  </a:cubicBezTo>
                  <a:cubicBezTo>
                    <a:pt x="196" y="289"/>
                    <a:pt x="194" y="288"/>
                    <a:pt x="192" y="287"/>
                  </a:cubicBezTo>
                  <a:cubicBezTo>
                    <a:pt x="191" y="287"/>
                    <a:pt x="189" y="284"/>
                    <a:pt x="190" y="283"/>
                  </a:cubicBezTo>
                  <a:cubicBezTo>
                    <a:pt x="190" y="279"/>
                    <a:pt x="193" y="276"/>
                    <a:pt x="196" y="274"/>
                  </a:cubicBezTo>
                  <a:cubicBezTo>
                    <a:pt x="198" y="272"/>
                    <a:pt x="201" y="270"/>
                    <a:pt x="203" y="268"/>
                  </a:cubicBezTo>
                  <a:cubicBezTo>
                    <a:pt x="209" y="264"/>
                    <a:pt x="214" y="260"/>
                    <a:pt x="219" y="257"/>
                  </a:cubicBezTo>
                  <a:cubicBezTo>
                    <a:pt x="229" y="249"/>
                    <a:pt x="239" y="241"/>
                    <a:pt x="249" y="234"/>
                  </a:cubicBezTo>
                  <a:cubicBezTo>
                    <a:pt x="258" y="226"/>
                    <a:pt x="268" y="220"/>
                    <a:pt x="276" y="211"/>
                  </a:cubicBezTo>
                  <a:cubicBezTo>
                    <a:pt x="279" y="207"/>
                    <a:pt x="282" y="202"/>
                    <a:pt x="283" y="196"/>
                  </a:cubicBezTo>
                  <a:cubicBezTo>
                    <a:pt x="284" y="191"/>
                    <a:pt x="283" y="185"/>
                    <a:pt x="279" y="181"/>
                  </a:cubicBezTo>
                  <a:cubicBezTo>
                    <a:pt x="278" y="180"/>
                    <a:pt x="275" y="178"/>
                    <a:pt x="273" y="178"/>
                  </a:cubicBezTo>
                  <a:cubicBezTo>
                    <a:pt x="270" y="177"/>
                    <a:pt x="268" y="176"/>
                    <a:pt x="265" y="176"/>
                  </a:cubicBezTo>
                  <a:cubicBezTo>
                    <a:pt x="260" y="176"/>
                    <a:pt x="255" y="176"/>
                    <a:pt x="250" y="177"/>
                  </a:cubicBezTo>
                  <a:cubicBezTo>
                    <a:pt x="247" y="177"/>
                    <a:pt x="244" y="177"/>
                    <a:pt x="242" y="177"/>
                  </a:cubicBezTo>
                  <a:cubicBezTo>
                    <a:pt x="239" y="177"/>
                    <a:pt x="237" y="177"/>
                    <a:pt x="234" y="176"/>
                  </a:cubicBezTo>
                  <a:cubicBezTo>
                    <a:pt x="232" y="174"/>
                    <a:pt x="231" y="171"/>
                    <a:pt x="230" y="169"/>
                  </a:cubicBezTo>
                  <a:cubicBezTo>
                    <a:pt x="230" y="166"/>
                    <a:pt x="230" y="164"/>
                    <a:pt x="231" y="162"/>
                  </a:cubicBezTo>
                  <a:cubicBezTo>
                    <a:pt x="231" y="162"/>
                    <a:pt x="231" y="162"/>
                    <a:pt x="231" y="162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44" y="137"/>
                    <a:pt x="254" y="114"/>
                    <a:pt x="262" y="94"/>
                  </a:cubicBezTo>
                  <a:cubicBezTo>
                    <a:pt x="270" y="74"/>
                    <a:pt x="277" y="57"/>
                    <a:pt x="279" y="42"/>
                  </a:cubicBezTo>
                  <a:cubicBezTo>
                    <a:pt x="280" y="35"/>
                    <a:pt x="281" y="28"/>
                    <a:pt x="280" y="23"/>
                  </a:cubicBezTo>
                  <a:cubicBezTo>
                    <a:pt x="279" y="17"/>
                    <a:pt x="277" y="13"/>
                    <a:pt x="275" y="9"/>
                  </a:cubicBezTo>
                  <a:cubicBezTo>
                    <a:pt x="273" y="6"/>
                    <a:pt x="271" y="4"/>
                    <a:pt x="269" y="3"/>
                  </a:cubicBezTo>
                  <a:cubicBezTo>
                    <a:pt x="267" y="2"/>
                    <a:pt x="266" y="2"/>
                    <a:pt x="266" y="2"/>
                  </a:cubicBezTo>
                  <a:cubicBezTo>
                    <a:pt x="266" y="2"/>
                    <a:pt x="267" y="2"/>
                    <a:pt x="269" y="3"/>
                  </a:cubicBezTo>
                  <a:cubicBezTo>
                    <a:pt x="271" y="4"/>
                    <a:pt x="273" y="6"/>
                    <a:pt x="275" y="9"/>
                  </a:cubicBezTo>
                  <a:cubicBezTo>
                    <a:pt x="278" y="12"/>
                    <a:pt x="280" y="17"/>
                    <a:pt x="280" y="23"/>
                  </a:cubicBezTo>
                  <a:cubicBezTo>
                    <a:pt x="281" y="28"/>
                    <a:pt x="281" y="35"/>
                    <a:pt x="280" y="42"/>
                  </a:cubicBezTo>
                  <a:cubicBezTo>
                    <a:pt x="277" y="57"/>
                    <a:pt x="271" y="75"/>
                    <a:pt x="263" y="95"/>
                  </a:cubicBezTo>
                  <a:cubicBezTo>
                    <a:pt x="254" y="115"/>
                    <a:pt x="245" y="137"/>
                    <a:pt x="232" y="162"/>
                  </a:cubicBezTo>
                  <a:cubicBezTo>
                    <a:pt x="232" y="162"/>
                    <a:pt x="232" y="162"/>
                    <a:pt x="232" y="162"/>
                  </a:cubicBezTo>
                  <a:cubicBezTo>
                    <a:pt x="232" y="164"/>
                    <a:pt x="231" y="167"/>
                    <a:pt x="232" y="169"/>
                  </a:cubicBezTo>
                  <a:cubicBezTo>
                    <a:pt x="232" y="171"/>
                    <a:pt x="233" y="173"/>
                    <a:pt x="235" y="175"/>
                  </a:cubicBezTo>
                  <a:cubicBezTo>
                    <a:pt x="237" y="176"/>
                    <a:pt x="239" y="176"/>
                    <a:pt x="242" y="176"/>
                  </a:cubicBezTo>
                  <a:cubicBezTo>
                    <a:pt x="244" y="176"/>
                    <a:pt x="247" y="176"/>
                    <a:pt x="249" y="176"/>
                  </a:cubicBezTo>
                  <a:cubicBezTo>
                    <a:pt x="254" y="175"/>
                    <a:pt x="260" y="175"/>
                    <a:pt x="265" y="175"/>
                  </a:cubicBezTo>
                  <a:cubicBezTo>
                    <a:pt x="268" y="175"/>
                    <a:pt x="270" y="175"/>
                    <a:pt x="273" y="176"/>
                  </a:cubicBezTo>
                  <a:cubicBezTo>
                    <a:pt x="276" y="177"/>
                    <a:pt x="278" y="178"/>
                    <a:pt x="280" y="181"/>
                  </a:cubicBezTo>
                  <a:cubicBezTo>
                    <a:pt x="284" y="185"/>
                    <a:pt x="285" y="191"/>
                    <a:pt x="284" y="197"/>
                  </a:cubicBezTo>
                  <a:cubicBezTo>
                    <a:pt x="283" y="202"/>
                    <a:pt x="280" y="208"/>
                    <a:pt x="277" y="212"/>
                  </a:cubicBezTo>
                  <a:cubicBezTo>
                    <a:pt x="269" y="221"/>
                    <a:pt x="259" y="228"/>
                    <a:pt x="250" y="235"/>
                  </a:cubicBezTo>
                  <a:cubicBezTo>
                    <a:pt x="240" y="243"/>
                    <a:pt x="230" y="250"/>
                    <a:pt x="220" y="258"/>
                  </a:cubicBezTo>
                  <a:cubicBezTo>
                    <a:pt x="215" y="262"/>
                    <a:pt x="210" y="266"/>
                    <a:pt x="205" y="270"/>
                  </a:cubicBezTo>
                  <a:cubicBezTo>
                    <a:pt x="202" y="272"/>
                    <a:pt x="199" y="274"/>
                    <a:pt x="197" y="276"/>
                  </a:cubicBezTo>
                  <a:cubicBezTo>
                    <a:pt x="195" y="277"/>
                    <a:pt x="194" y="277"/>
                    <a:pt x="193" y="279"/>
                  </a:cubicBezTo>
                  <a:cubicBezTo>
                    <a:pt x="192" y="280"/>
                    <a:pt x="191" y="281"/>
                    <a:pt x="191" y="283"/>
                  </a:cubicBezTo>
                  <a:cubicBezTo>
                    <a:pt x="191" y="284"/>
                    <a:pt x="192" y="285"/>
                    <a:pt x="193" y="286"/>
                  </a:cubicBezTo>
                  <a:cubicBezTo>
                    <a:pt x="194" y="287"/>
                    <a:pt x="196" y="287"/>
                    <a:pt x="198" y="287"/>
                  </a:cubicBezTo>
                  <a:cubicBezTo>
                    <a:pt x="201" y="287"/>
                    <a:pt x="204" y="288"/>
                    <a:pt x="208" y="288"/>
                  </a:cubicBezTo>
                  <a:cubicBezTo>
                    <a:pt x="214" y="289"/>
                    <a:pt x="221" y="290"/>
                    <a:pt x="228" y="291"/>
                  </a:cubicBezTo>
                  <a:cubicBezTo>
                    <a:pt x="235" y="292"/>
                    <a:pt x="242" y="294"/>
                    <a:pt x="248" y="298"/>
                  </a:cubicBezTo>
                  <a:cubicBezTo>
                    <a:pt x="251" y="300"/>
                    <a:pt x="254" y="302"/>
                    <a:pt x="256" y="305"/>
                  </a:cubicBezTo>
                  <a:cubicBezTo>
                    <a:pt x="258" y="309"/>
                    <a:pt x="259" y="312"/>
                    <a:pt x="259" y="316"/>
                  </a:cubicBezTo>
                  <a:cubicBezTo>
                    <a:pt x="258" y="324"/>
                    <a:pt x="254" y="330"/>
                    <a:pt x="249" y="336"/>
                  </a:cubicBezTo>
                  <a:cubicBezTo>
                    <a:pt x="244" y="341"/>
                    <a:pt x="238" y="346"/>
                    <a:pt x="233" y="351"/>
                  </a:cubicBezTo>
                  <a:cubicBezTo>
                    <a:pt x="221" y="360"/>
                    <a:pt x="208" y="367"/>
                    <a:pt x="194" y="375"/>
                  </a:cubicBezTo>
                  <a:cubicBezTo>
                    <a:pt x="191" y="376"/>
                    <a:pt x="187" y="378"/>
                    <a:pt x="185" y="380"/>
                  </a:cubicBezTo>
                  <a:cubicBezTo>
                    <a:pt x="183" y="381"/>
                    <a:pt x="182" y="383"/>
                    <a:pt x="182" y="384"/>
                  </a:cubicBezTo>
                  <a:cubicBezTo>
                    <a:pt x="182" y="385"/>
                    <a:pt x="182" y="385"/>
                    <a:pt x="182" y="386"/>
                  </a:cubicBezTo>
                  <a:cubicBezTo>
                    <a:pt x="183" y="387"/>
                    <a:pt x="183" y="387"/>
                    <a:pt x="183" y="387"/>
                  </a:cubicBezTo>
                  <a:cubicBezTo>
                    <a:pt x="183" y="387"/>
                    <a:pt x="184" y="387"/>
                    <a:pt x="184" y="388"/>
                  </a:cubicBezTo>
                  <a:cubicBezTo>
                    <a:pt x="188" y="388"/>
                    <a:pt x="192" y="388"/>
                    <a:pt x="196" y="388"/>
                  </a:cubicBezTo>
                  <a:cubicBezTo>
                    <a:pt x="200" y="388"/>
                    <a:pt x="203" y="388"/>
                    <a:pt x="207" y="388"/>
                  </a:cubicBezTo>
                  <a:cubicBezTo>
                    <a:pt x="215" y="388"/>
                    <a:pt x="223" y="388"/>
                    <a:pt x="231" y="390"/>
                  </a:cubicBezTo>
                  <a:cubicBezTo>
                    <a:pt x="235" y="390"/>
                    <a:pt x="239" y="391"/>
                    <a:pt x="243" y="393"/>
                  </a:cubicBezTo>
                  <a:cubicBezTo>
                    <a:pt x="246" y="395"/>
                    <a:pt x="250" y="398"/>
                    <a:pt x="251" y="403"/>
                  </a:cubicBezTo>
                  <a:cubicBezTo>
                    <a:pt x="252" y="407"/>
                    <a:pt x="251" y="411"/>
                    <a:pt x="249" y="415"/>
                  </a:cubicBezTo>
                  <a:cubicBezTo>
                    <a:pt x="247" y="419"/>
                    <a:pt x="244" y="422"/>
                    <a:pt x="242" y="425"/>
                  </a:cubicBezTo>
                  <a:cubicBezTo>
                    <a:pt x="236" y="431"/>
                    <a:pt x="230" y="437"/>
                    <a:pt x="223" y="441"/>
                  </a:cubicBezTo>
                  <a:cubicBezTo>
                    <a:pt x="209" y="451"/>
                    <a:pt x="194" y="458"/>
                    <a:pt x="179" y="464"/>
                  </a:cubicBezTo>
                  <a:cubicBezTo>
                    <a:pt x="163" y="470"/>
                    <a:pt x="147" y="474"/>
                    <a:pt x="130" y="478"/>
                  </a:cubicBezTo>
                  <a:cubicBezTo>
                    <a:pt x="122" y="480"/>
                    <a:pt x="114" y="481"/>
                    <a:pt x="105" y="483"/>
                  </a:cubicBezTo>
                  <a:cubicBezTo>
                    <a:pt x="97" y="484"/>
                    <a:pt x="88" y="485"/>
                    <a:pt x="80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3" y="479"/>
                    <a:pt x="68" y="472"/>
                    <a:pt x="62" y="466"/>
                  </a:cubicBezTo>
                  <a:cubicBezTo>
                    <a:pt x="57" y="459"/>
                    <a:pt x="51" y="453"/>
                    <a:pt x="47" y="446"/>
                  </a:cubicBezTo>
                  <a:cubicBezTo>
                    <a:pt x="37" y="432"/>
                    <a:pt x="28" y="417"/>
                    <a:pt x="21" y="402"/>
                  </a:cubicBezTo>
                  <a:cubicBezTo>
                    <a:pt x="13" y="387"/>
                    <a:pt x="7" y="372"/>
                    <a:pt x="3" y="356"/>
                  </a:cubicBezTo>
                  <a:cubicBezTo>
                    <a:pt x="1" y="348"/>
                    <a:pt x="0" y="340"/>
                    <a:pt x="0" y="331"/>
                  </a:cubicBezTo>
                  <a:cubicBezTo>
                    <a:pt x="0" y="327"/>
                    <a:pt x="1" y="323"/>
                    <a:pt x="2" y="319"/>
                  </a:cubicBezTo>
                  <a:cubicBezTo>
                    <a:pt x="3" y="315"/>
                    <a:pt x="5" y="311"/>
                    <a:pt x="8" y="309"/>
                  </a:cubicBezTo>
                  <a:cubicBezTo>
                    <a:pt x="12" y="306"/>
                    <a:pt x="17" y="306"/>
                    <a:pt x="21" y="307"/>
                  </a:cubicBezTo>
                  <a:cubicBezTo>
                    <a:pt x="25" y="308"/>
                    <a:pt x="28" y="310"/>
                    <a:pt x="32" y="312"/>
                  </a:cubicBezTo>
                  <a:cubicBezTo>
                    <a:pt x="39" y="317"/>
                    <a:pt x="45" y="322"/>
                    <a:pt x="50" y="327"/>
                  </a:cubicBezTo>
                  <a:cubicBezTo>
                    <a:pt x="53" y="330"/>
                    <a:pt x="56" y="332"/>
                    <a:pt x="59" y="335"/>
                  </a:cubicBezTo>
                  <a:cubicBezTo>
                    <a:pt x="62" y="338"/>
                    <a:pt x="65" y="340"/>
                    <a:pt x="68" y="342"/>
                  </a:cubicBezTo>
                  <a:cubicBezTo>
                    <a:pt x="68" y="343"/>
                    <a:pt x="69" y="343"/>
                    <a:pt x="70" y="343"/>
                  </a:cubicBezTo>
                  <a:cubicBezTo>
                    <a:pt x="71" y="342"/>
                    <a:pt x="71" y="342"/>
                    <a:pt x="71" y="342"/>
                  </a:cubicBezTo>
                  <a:cubicBezTo>
                    <a:pt x="71" y="341"/>
                    <a:pt x="71" y="341"/>
                    <a:pt x="71" y="341"/>
                  </a:cubicBezTo>
                  <a:cubicBezTo>
                    <a:pt x="72" y="340"/>
                    <a:pt x="73" y="338"/>
                    <a:pt x="72" y="337"/>
                  </a:cubicBezTo>
                  <a:cubicBezTo>
                    <a:pt x="72" y="333"/>
                    <a:pt x="70" y="330"/>
                    <a:pt x="69" y="326"/>
                  </a:cubicBezTo>
                  <a:cubicBezTo>
                    <a:pt x="64" y="312"/>
                    <a:pt x="60" y="297"/>
                    <a:pt x="57" y="283"/>
                  </a:cubicBezTo>
                  <a:cubicBezTo>
                    <a:pt x="56" y="275"/>
                    <a:pt x="55" y="268"/>
                    <a:pt x="55" y="260"/>
                  </a:cubicBezTo>
                  <a:cubicBezTo>
                    <a:pt x="55" y="253"/>
                    <a:pt x="56" y="245"/>
                    <a:pt x="61" y="239"/>
                  </a:cubicBezTo>
                  <a:cubicBezTo>
                    <a:pt x="63" y="236"/>
                    <a:pt x="66" y="234"/>
                    <a:pt x="70" y="233"/>
                  </a:cubicBezTo>
                  <a:cubicBezTo>
                    <a:pt x="73" y="232"/>
                    <a:pt x="77" y="232"/>
                    <a:pt x="81" y="233"/>
                  </a:cubicBezTo>
                  <a:cubicBezTo>
                    <a:pt x="88" y="235"/>
                    <a:pt x="94" y="238"/>
                    <a:pt x="100" y="241"/>
                  </a:cubicBezTo>
                  <a:cubicBezTo>
                    <a:pt x="106" y="245"/>
                    <a:pt x="112" y="249"/>
                    <a:pt x="117" y="253"/>
                  </a:cubicBezTo>
                  <a:cubicBezTo>
                    <a:pt x="120" y="255"/>
                    <a:pt x="123" y="257"/>
                    <a:pt x="125" y="259"/>
                  </a:cubicBezTo>
                  <a:cubicBezTo>
                    <a:pt x="127" y="260"/>
                    <a:pt x="128" y="261"/>
                    <a:pt x="130" y="261"/>
                  </a:cubicBezTo>
                  <a:cubicBezTo>
                    <a:pt x="131" y="261"/>
                    <a:pt x="132" y="261"/>
                    <a:pt x="133" y="260"/>
                  </a:cubicBezTo>
                  <a:cubicBezTo>
                    <a:pt x="134" y="259"/>
                    <a:pt x="134" y="257"/>
                    <a:pt x="134" y="256"/>
                  </a:cubicBezTo>
                  <a:cubicBezTo>
                    <a:pt x="135" y="254"/>
                    <a:pt x="134" y="253"/>
                    <a:pt x="134" y="251"/>
                  </a:cubicBezTo>
                  <a:cubicBezTo>
                    <a:pt x="133" y="248"/>
                    <a:pt x="133" y="245"/>
                    <a:pt x="132" y="241"/>
                  </a:cubicBezTo>
                  <a:cubicBezTo>
                    <a:pt x="131" y="235"/>
                    <a:pt x="130" y="229"/>
                    <a:pt x="129" y="222"/>
                  </a:cubicBezTo>
                  <a:cubicBezTo>
                    <a:pt x="126" y="210"/>
                    <a:pt x="124" y="198"/>
                    <a:pt x="122" y="186"/>
                  </a:cubicBezTo>
                  <a:cubicBezTo>
                    <a:pt x="120" y="174"/>
                    <a:pt x="117" y="162"/>
                    <a:pt x="117" y="150"/>
                  </a:cubicBezTo>
                  <a:cubicBezTo>
                    <a:pt x="118" y="144"/>
                    <a:pt x="119" y="139"/>
                    <a:pt x="122" y="134"/>
                  </a:cubicBezTo>
                  <a:cubicBezTo>
                    <a:pt x="125" y="129"/>
                    <a:pt x="130" y="125"/>
                    <a:pt x="136" y="124"/>
                  </a:cubicBezTo>
                  <a:cubicBezTo>
                    <a:pt x="139" y="124"/>
                    <a:pt x="142" y="125"/>
                    <a:pt x="144" y="126"/>
                  </a:cubicBezTo>
                  <a:cubicBezTo>
                    <a:pt x="147" y="127"/>
                    <a:pt x="149" y="129"/>
                    <a:pt x="151" y="131"/>
                  </a:cubicBezTo>
                  <a:cubicBezTo>
                    <a:pt x="155" y="134"/>
                    <a:pt x="159" y="138"/>
                    <a:pt x="162" y="142"/>
                  </a:cubicBezTo>
                  <a:cubicBezTo>
                    <a:pt x="164" y="143"/>
                    <a:pt x="166" y="145"/>
                    <a:pt x="167" y="147"/>
                  </a:cubicBezTo>
                  <a:cubicBezTo>
                    <a:pt x="169" y="149"/>
                    <a:pt x="171" y="150"/>
                    <a:pt x="173" y="150"/>
                  </a:cubicBezTo>
                  <a:cubicBezTo>
                    <a:pt x="176" y="151"/>
                    <a:pt x="178" y="150"/>
                    <a:pt x="180" y="148"/>
                  </a:cubicBezTo>
                  <a:cubicBezTo>
                    <a:pt x="181" y="147"/>
                    <a:pt x="183" y="145"/>
                    <a:pt x="184" y="143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1" y="116"/>
                    <a:pt x="199" y="93"/>
                    <a:pt x="207" y="73"/>
                  </a:cubicBezTo>
                  <a:cubicBezTo>
                    <a:pt x="214" y="52"/>
                    <a:pt x="221" y="35"/>
                    <a:pt x="229" y="22"/>
                  </a:cubicBezTo>
                  <a:cubicBezTo>
                    <a:pt x="234" y="16"/>
                    <a:pt x="238" y="11"/>
                    <a:pt x="242" y="8"/>
                  </a:cubicBezTo>
                  <a:cubicBezTo>
                    <a:pt x="247" y="4"/>
                    <a:pt x="251" y="2"/>
                    <a:pt x="255" y="1"/>
                  </a:cubicBezTo>
                  <a:cubicBezTo>
                    <a:pt x="259" y="0"/>
                    <a:pt x="262" y="1"/>
                    <a:pt x="264" y="1"/>
                  </a:cubicBezTo>
                  <a:cubicBezTo>
                    <a:pt x="266" y="2"/>
                    <a:pt x="267" y="2"/>
                    <a:pt x="267" y="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DA60D895-F3E7-4ED5-926B-B9BC4495A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" y="1529"/>
              <a:ext cx="451" cy="1170"/>
            </a:xfrm>
            <a:custGeom>
              <a:avLst/>
              <a:gdLst>
                <a:gd name="T0" fmla="*/ 190 w 190"/>
                <a:gd name="T1" fmla="*/ 0 h 493"/>
                <a:gd name="T2" fmla="*/ 189 w 190"/>
                <a:gd name="T3" fmla="*/ 1 h 493"/>
                <a:gd name="T4" fmla="*/ 188 w 190"/>
                <a:gd name="T5" fmla="*/ 5 h 493"/>
                <a:gd name="T6" fmla="*/ 183 w 190"/>
                <a:gd name="T7" fmla="*/ 19 h 493"/>
                <a:gd name="T8" fmla="*/ 162 w 190"/>
                <a:gd name="T9" fmla="*/ 72 h 493"/>
                <a:gd name="T10" fmla="*/ 96 w 190"/>
                <a:gd name="T11" fmla="*/ 246 h 493"/>
                <a:gd name="T12" fmla="*/ 29 w 190"/>
                <a:gd name="T13" fmla="*/ 421 h 493"/>
                <a:gd name="T14" fmla="*/ 8 w 190"/>
                <a:gd name="T15" fmla="*/ 473 h 493"/>
                <a:gd name="T16" fmla="*/ 2 w 190"/>
                <a:gd name="T17" fmla="*/ 488 h 493"/>
                <a:gd name="T18" fmla="*/ 0 w 190"/>
                <a:gd name="T19" fmla="*/ 491 h 493"/>
                <a:gd name="T20" fmla="*/ 0 w 190"/>
                <a:gd name="T21" fmla="*/ 493 h 493"/>
                <a:gd name="T22" fmla="*/ 0 w 190"/>
                <a:gd name="T23" fmla="*/ 491 h 493"/>
                <a:gd name="T24" fmla="*/ 2 w 190"/>
                <a:gd name="T25" fmla="*/ 487 h 493"/>
                <a:gd name="T26" fmla="*/ 7 w 190"/>
                <a:gd name="T27" fmla="*/ 473 h 493"/>
                <a:gd name="T28" fmla="*/ 27 w 190"/>
                <a:gd name="T29" fmla="*/ 420 h 493"/>
                <a:gd name="T30" fmla="*/ 94 w 190"/>
                <a:gd name="T31" fmla="*/ 246 h 493"/>
                <a:gd name="T32" fmla="*/ 161 w 190"/>
                <a:gd name="T33" fmla="*/ 71 h 493"/>
                <a:gd name="T34" fmla="*/ 182 w 190"/>
                <a:gd name="T35" fmla="*/ 19 h 493"/>
                <a:gd name="T36" fmla="*/ 188 w 190"/>
                <a:gd name="T37" fmla="*/ 4 h 493"/>
                <a:gd name="T38" fmla="*/ 189 w 190"/>
                <a:gd name="T39" fmla="*/ 1 h 493"/>
                <a:gd name="T40" fmla="*/ 190 w 190"/>
                <a:gd name="T41" fmla="*/ 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0" h="493">
                  <a:moveTo>
                    <a:pt x="190" y="0"/>
                  </a:moveTo>
                  <a:cubicBezTo>
                    <a:pt x="190" y="0"/>
                    <a:pt x="190" y="0"/>
                    <a:pt x="189" y="1"/>
                  </a:cubicBezTo>
                  <a:cubicBezTo>
                    <a:pt x="189" y="2"/>
                    <a:pt x="189" y="3"/>
                    <a:pt x="188" y="5"/>
                  </a:cubicBezTo>
                  <a:cubicBezTo>
                    <a:pt x="187" y="8"/>
                    <a:pt x="185" y="13"/>
                    <a:pt x="183" y="19"/>
                  </a:cubicBezTo>
                  <a:cubicBezTo>
                    <a:pt x="178" y="32"/>
                    <a:pt x="171" y="50"/>
                    <a:pt x="162" y="72"/>
                  </a:cubicBezTo>
                  <a:cubicBezTo>
                    <a:pt x="145" y="117"/>
                    <a:pt x="122" y="178"/>
                    <a:pt x="96" y="246"/>
                  </a:cubicBezTo>
                  <a:cubicBezTo>
                    <a:pt x="70" y="315"/>
                    <a:pt x="46" y="376"/>
                    <a:pt x="29" y="421"/>
                  </a:cubicBezTo>
                  <a:cubicBezTo>
                    <a:pt x="20" y="443"/>
                    <a:pt x="13" y="461"/>
                    <a:pt x="8" y="473"/>
                  </a:cubicBezTo>
                  <a:cubicBezTo>
                    <a:pt x="5" y="479"/>
                    <a:pt x="3" y="484"/>
                    <a:pt x="2" y="488"/>
                  </a:cubicBezTo>
                  <a:cubicBezTo>
                    <a:pt x="1" y="489"/>
                    <a:pt x="1" y="490"/>
                    <a:pt x="0" y="491"/>
                  </a:cubicBezTo>
                  <a:cubicBezTo>
                    <a:pt x="0" y="492"/>
                    <a:pt x="0" y="493"/>
                    <a:pt x="0" y="493"/>
                  </a:cubicBezTo>
                  <a:cubicBezTo>
                    <a:pt x="0" y="492"/>
                    <a:pt x="0" y="492"/>
                    <a:pt x="0" y="491"/>
                  </a:cubicBezTo>
                  <a:cubicBezTo>
                    <a:pt x="1" y="490"/>
                    <a:pt x="1" y="489"/>
                    <a:pt x="2" y="487"/>
                  </a:cubicBezTo>
                  <a:cubicBezTo>
                    <a:pt x="3" y="484"/>
                    <a:pt x="5" y="479"/>
                    <a:pt x="7" y="473"/>
                  </a:cubicBezTo>
                  <a:cubicBezTo>
                    <a:pt x="12" y="460"/>
                    <a:pt x="19" y="442"/>
                    <a:pt x="27" y="420"/>
                  </a:cubicBezTo>
                  <a:cubicBezTo>
                    <a:pt x="44" y="375"/>
                    <a:pt x="68" y="314"/>
                    <a:pt x="94" y="246"/>
                  </a:cubicBezTo>
                  <a:cubicBezTo>
                    <a:pt x="120" y="177"/>
                    <a:pt x="143" y="116"/>
                    <a:pt x="161" y="71"/>
                  </a:cubicBezTo>
                  <a:cubicBezTo>
                    <a:pt x="170" y="49"/>
                    <a:pt x="177" y="31"/>
                    <a:pt x="182" y="19"/>
                  </a:cubicBezTo>
                  <a:cubicBezTo>
                    <a:pt x="184" y="13"/>
                    <a:pt x="186" y="8"/>
                    <a:pt x="188" y="4"/>
                  </a:cubicBezTo>
                  <a:cubicBezTo>
                    <a:pt x="188" y="3"/>
                    <a:pt x="189" y="2"/>
                    <a:pt x="189" y="1"/>
                  </a:cubicBezTo>
                  <a:cubicBezTo>
                    <a:pt x="190" y="0"/>
                    <a:pt x="190" y="0"/>
                    <a:pt x="19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93DCC6CA-6E47-42FC-B507-6D3CFAB79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3" y="1854"/>
              <a:ext cx="167" cy="90"/>
            </a:xfrm>
            <a:custGeom>
              <a:avLst/>
              <a:gdLst>
                <a:gd name="T0" fmla="*/ 70 w 70"/>
                <a:gd name="T1" fmla="*/ 1 h 38"/>
                <a:gd name="T2" fmla="*/ 60 w 70"/>
                <a:gd name="T3" fmla="*/ 7 h 38"/>
                <a:gd name="T4" fmla="*/ 36 w 70"/>
                <a:gd name="T5" fmla="*/ 20 h 38"/>
                <a:gd name="T6" fmla="*/ 11 w 70"/>
                <a:gd name="T7" fmla="*/ 33 h 38"/>
                <a:gd name="T8" fmla="*/ 0 w 70"/>
                <a:gd name="T9" fmla="*/ 38 h 38"/>
                <a:gd name="T10" fmla="*/ 10 w 70"/>
                <a:gd name="T11" fmla="*/ 32 h 38"/>
                <a:gd name="T12" fmla="*/ 35 w 70"/>
                <a:gd name="T13" fmla="*/ 18 h 38"/>
                <a:gd name="T14" fmla="*/ 59 w 70"/>
                <a:gd name="T15" fmla="*/ 5 h 38"/>
                <a:gd name="T16" fmla="*/ 70 w 70"/>
                <a:gd name="T1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38">
                  <a:moveTo>
                    <a:pt x="70" y="1"/>
                  </a:moveTo>
                  <a:cubicBezTo>
                    <a:pt x="70" y="1"/>
                    <a:pt x="66" y="3"/>
                    <a:pt x="60" y="7"/>
                  </a:cubicBezTo>
                  <a:cubicBezTo>
                    <a:pt x="53" y="10"/>
                    <a:pt x="45" y="15"/>
                    <a:pt x="36" y="20"/>
                  </a:cubicBezTo>
                  <a:cubicBezTo>
                    <a:pt x="26" y="26"/>
                    <a:pt x="17" y="30"/>
                    <a:pt x="11" y="33"/>
                  </a:cubicBezTo>
                  <a:cubicBezTo>
                    <a:pt x="4" y="37"/>
                    <a:pt x="0" y="38"/>
                    <a:pt x="0" y="38"/>
                  </a:cubicBezTo>
                  <a:cubicBezTo>
                    <a:pt x="0" y="38"/>
                    <a:pt x="4" y="36"/>
                    <a:pt x="10" y="32"/>
                  </a:cubicBezTo>
                  <a:cubicBezTo>
                    <a:pt x="17" y="28"/>
                    <a:pt x="25" y="24"/>
                    <a:pt x="35" y="18"/>
                  </a:cubicBezTo>
                  <a:cubicBezTo>
                    <a:pt x="44" y="13"/>
                    <a:pt x="53" y="8"/>
                    <a:pt x="59" y="5"/>
                  </a:cubicBezTo>
                  <a:cubicBezTo>
                    <a:pt x="66" y="2"/>
                    <a:pt x="70" y="0"/>
                    <a:pt x="7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2A18D390-A2F3-4340-B89A-82864A19B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" y="1742"/>
              <a:ext cx="97" cy="197"/>
            </a:xfrm>
            <a:custGeom>
              <a:avLst/>
              <a:gdLst>
                <a:gd name="T0" fmla="*/ 41 w 41"/>
                <a:gd name="T1" fmla="*/ 83 h 83"/>
                <a:gd name="T2" fmla="*/ 20 w 41"/>
                <a:gd name="T3" fmla="*/ 42 h 83"/>
                <a:gd name="T4" fmla="*/ 0 w 41"/>
                <a:gd name="T5" fmla="*/ 1 h 83"/>
                <a:gd name="T6" fmla="*/ 22 w 41"/>
                <a:gd name="T7" fmla="*/ 41 h 83"/>
                <a:gd name="T8" fmla="*/ 41 w 4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41" y="83"/>
                  </a:moveTo>
                  <a:cubicBezTo>
                    <a:pt x="40" y="83"/>
                    <a:pt x="31" y="65"/>
                    <a:pt x="20" y="42"/>
                  </a:cubicBezTo>
                  <a:cubicBezTo>
                    <a:pt x="8" y="20"/>
                    <a:pt x="0" y="1"/>
                    <a:pt x="0" y="1"/>
                  </a:cubicBezTo>
                  <a:cubicBezTo>
                    <a:pt x="1" y="0"/>
                    <a:pt x="10" y="19"/>
                    <a:pt x="22" y="41"/>
                  </a:cubicBezTo>
                  <a:cubicBezTo>
                    <a:pt x="33" y="64"/>
                    <a:pt x="41" y="82"/>
                    <a:pt x="41" y="8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8871D26-00FB-4509-933D-5DDFB0B90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" y="2044"/>
              <a:ext cx="126" cy="147"/>
            </a:xfrm>
            <a:custGeom>
              <a:avLst/>
              <a:gdLst>
                <a:gd name="T0" fmla="*/ 53 w 53"/>
                <a:gd name="T1" fmla="*/ 62 h 62"/>
                <a:gd name="T2" fmla="*/ 44 w 53"/>
                <a:gd name="T3" fmla="*/ 54 h 62"/>
                <a:gd name="T4" fmla="*/ 25 w 53"/>
                <a:gd name="T5" fmla="*/ 33 h 62"/>
                <a:gd name="T6" fmla="*/ 7 w 53"/>
                <a:gd name="T7" fmla="*/ 10 h 62"/>
                <a:gd name="T8" fmla="*/ 1 w 53"/>
                <a:gd name="T9" fmla="*/ 0 h 62"/>
                <a:gd name="T10" fmla="*/ 8 w 53"/>
                <a:gd name="T11" fmla="*/ 10 h 62"/>
                <a:gd name="T12" fmla="*/ 26 w 53"/>
                <a:gd name="T13" fmla="*/ 32 h 62"/>
                <a:gd name="T14" fmla="*/ 45 w 53"/>
                <a:gd name="T15" fmla="*/ 53 h 62"/>
                <a:gd name="T16" fmla="*/ 53 w 53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62">
                  <a:moveTo>
                    <a:pt x="53" y="62"/>
                  </a:moveTo>
                  <a:cubicBezTo>
                    <a:pt x="53" y="62"/>
                    <a:pt x="49" y="59"/>
                    <a:pt x="44" y="54"/>
                  </a:cubicBezTo>
                  <a:cubicBezTo>
                    <a:pt x="39" y="49"/>
                    <a:pt x="32" y="42"/>
                    <a:pt x="25" y="33"/>
                  </a:cubicBezTo>
                  <a:cubicBezTo>
                    <a:pt x="17" y="25"/>
                    <a:pt x="11" y="16"/>
                    <a:pt x="7" y="10"/>
                  </a:cubicBezTo>
                  <a:cubicBezTo>
                    <a:pt x="3" y="4"/>
                    <a:pt x="0" y="1"/>
                    <a:pt x="1" y="0"/>
                  </a:cubicBezTo>
                  <a:cubicBezTo>
                    <a:pt x="1" y="0"/>
                    <a:pt x="4" y="4"/>
                    <a:pt x="8" y="10"/>
                  </a:cubicBezTo>
                  <a:cubicBezTo>
                    <a:pt x="13" y="15"/>
                    <a:pt x="19" y="23"/>
                    <a:pt x="26" y="32"/>
                  </a:cubicBezTo>
                  <a:cubicBezTo>
                    <a:pt x="34" y="40"/>
                    <a:pt x="40" y="48"/>
                    <a:pt x="45" y="53"/>
                  </a:cubicBezTo>
                  <a:cubicBezTo>
                    <a:pt x="50" y="59"/>
                    <a:pt x="53" y="62"/>
                    <a:pt x="53" y="6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5CF53FCE-7966-4B33-944E-834DDFDD5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3" y="2151"/>
              <a:ext cx="174" cy="40"/>
            </a:xfrm>
            <a:custGeom>
              <a:avLst/>
              <a:gdLst>
                <a:gd name="T0" fmla="*/ 73 w 73"/>
                <a:gd name="T1" fmla="*/ 0 h 17"/>
                <a:gd name="T2" fmla="*/ 63 w 73"/>
                <a:gd name="T3" fmla="*/ 3 h 17"/>
                <a:gd name="T4" fmla="*/ 37 w 73"/>
                <a:gd name="T5" fmla="*/ 9 h 17"/>
                <a:gd name="T6" fmla="*/ 11 w 73"/>
                <a:gd name="T7" fmla="*/ 15 h 17"/>
                <a:gd name="T8" fmla="*/ 0 w 73"/>
                <a:gd name="T9" fmla="*/ 16 h 17"/>
                <a:gd name="T10" fmla="*/ 11 w 73"/>
                <a:gd name="T11" fmla="*/ 13 h 17"/>
                <a:gd name="T12" fmla="*/ 36 w 73"/>
                <a:gd name="T13" fmla="*/ 7 h 17"/>
                <a:gd name="T14" fmla="*/ 62 w 73"/>
                <a:gd name="T15" fmla="*/ 2 h 17"/>
                <a:gd name="T16" fmla="*/ 73 w 7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7">
                  <a:moveTo>
                    <a:pt x="73" y="0"/>
                  </a:moveTo>
                  <a:cubicBezTo>
                    <a:pt x="73" y="0"/>
                    <a:pt x="69" y="2"/>
                    <a:pt x="63" y="3"/>
                  </a:cubicBezTo>
                  <a:cubicBezTo>
                    <a:pt x="56" y="5"/>
                    <a:pt x="47" y="7"/>
                    <a:pt x="37" y="9"/>
                  </a:cubicBezTo>
                  <a:cubicBezTo>
                    <a:pt x="27" y="11"/>
                    <a:pt x="17" y="13"/>
                    <a:pt x="11" y="15"/>
                  </a:cubicBezTo>
                  <a:cubicBezTo>
                    <a:pt x="4" y="16"/>
                    <a:pt x="0" y="17"/>
                    <a:pt x="0" y="16"/>
                  </a:cubicBezTo>
                  <a:cubicBezTo>
                    <a:pt x="0" y="16"/>
                    <a:pt x="4" y="15"/>
                    <a:pt x="11" y="13"/>
                  </a:cubicBezTo>
                  <a:cubicBezTo>
                    <a:pt x="17" y="12"/>
                    <a:pt x="26" y="9"/>
                    <a:pt x="36" y="7"/>
                  </a:cubicBezTo>
                  <a:cubicBezTo>
                    <a:pt x="46" y="5"/>
                    <a:pt x="56" y="3"/>
                    <a:pt x="62" y="2"/>
                  </a:cubicBezTo>
                  <a:cubicBezTo>
                    <a:pt x="69" y="0"/>
                    <a:pt x="73" y="0"/>
                    <a:pt x="7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343D376D-6826-43EC-A4E3-CB8DEC96A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8" y="2383"/>
              <a:ext cx="223" cy="48"/>
            </a:xfrm>
            <a:custGeom>
              <a:avLst/>
              <a:gdLst>
                <a:gd name="T0" fmla="*/ 94 w 94"/>
                <a:gd name="T1" fmla="*/ 0 h 20"/>
                <a:gd name="T2" fmla="*/ 81 w 94"/>
                <a:gd name="T3" fmla="*/ 4 h 20"/>
                <a:gd name="T4" fmla="*/ 47 w 94"/>
                <a:gd name="T5" fmla="*/ 11 h 20"/>
                <a:gd name="T6" fmla="*/ 14 w 94"/>
                <a:gd name="T7" fmla="*/ 18 h 20"/>
                <a:gd name="T8" fmla="*/ 0 w 94"/>
                <a:gd name="T9" fmla="*/ 20 h 20"/>
                <a:gd name="T10" fmla="*/ 14 w 94"/>
                <a:gd name="T11" fmla="*/ 16 h 20"/>
                <a:gd name="T12" fmla="*/ 47 w 94"/>
                <a:gd name="T13" fmla="*/ 9 h 20"/>
                <a:gd name="T14" fmla="*/ 80 w 94"/>
                <a:gd name="T15" fmla="*/ 2 h 20"/>
                <a:gd name="T16" fmla="*/ 94 w 94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20">
                  <a:moveTo>
                    <a:pt x="94" y="0"/>
                  </a:moveTo>
                  <a:cubicBezTo>
                    <a:pt x="94" y="0"/>
                    <a:pt x="89" y="2"/>
                    <a:pt x="81" y="4"/>
                  </a:cubicBezTo>
                  <a:cubicBezTo>
                    <a:pt x="72" y="6"/>
                    <a:pt x="60" y="8"/>
                    <a:pt x="47" y="11"/>
                  </a:cubicBezTo>
                  <a:cubicBezTo>
                    <a:pt x="34" y="14"/>
                    <a:pt x="23" y="16"/>
                    <a:pt x="14" y="18"/>
                  </a:cubicBezTo>
                  <a:cubicBezTo>
                    <a:pt x="6" y="19"/>
                    <a:pt x="0" y="20"/>
                    <a:pt x="0" y="20"/>
                  </a:cubicBezTo>
                  <a:cubicBezTo>
                    <a:pt x="0" y="20"/>
                    <a:pt x="5" y="18"/>
                    <a:pt x="14" y="16"/>
                  </a:cubicBezTo>
                  <a:cubicBezTo>
                    <a:pt x="22" y="14"/>
                    <a:pt x="34" y="12"/>
                    <a:pt x="47" y="9"/>
                  </a:cubicBezTo>
                  <a:cubicBezTo>
                    <a:pt x="60" y="6"/>
                    <a:pt x="72" y="4"/>
                    <a:pt x="80" y="2"/>
                  </a:cubicBezTo>
                  <a:cubicBezTo>
                    <a:pt x="89" y="1"/>
                    <a:pt x="94" y="0"/>
                    <a:pt x="9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42407FF7-1352-47CB-9376-281DDDC35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1" y="2239"/>
              <a:ext cx="154" cy="189"/>
            </a:xfrm>
            <a:custGeom>
              <a:avLst/>
              <a:gdLst>
                <a:gd name="T0" fmla="*/ 64 w 65"/>
                <a:gd name="T1" fmla="*/ 80 h 80"/>
                <a:gd name="T2" fmla="*/ 61 w 65"/>
                <a:gd name="T3" fmla="*/ 77 h 80"/>
                <a:gd name="T4" fmla="*/ 54 w 65"/>
                <a:gd name="T5" fmla="*/ 69 h 80"/>
                <a:gd name="T6" fmla="*/ 30 w 65"/>
                <a:gd name="T7" fmla="*/ 41 h 80"/>
                <a:gd name="T8" fmla="*/ 8 w 65"/>
                <a:gd name="T9" fmla="*/ 12 h 80"/>
                <a:gd name="T10" fmla="*/ 2 w 65"/>
                <a:gd name="T11" fmla="*/ 3 h 80"/>
                <a:gd name="T12" fmla="*/ 0 w 65"/>
                <a:gd name="T13" fmla="*/ 0 h 80"/>
                <a:gd name="T14" fmla="*/ 3 w 65"/>
                <a:gd name="T15" fmla="*/ 3 h 80"/>
                <a:gd name="T16" fmla="*/ 10 w 65"/>
                <a:gd name="T17" fmla="*/ 11 h 80"/>
                <a:gd name="T18" fmla="*/ 32 w 65"/>
                <a:gd name="T19" fmla="*/ 40 h 80"/>
                <a:gd name="T20" fmla="*/ 55 w 65"/>
                <a:gd name="T21" fmla="*/ 68 h 80"/>
                <a:gd name="T22" fmla="*/ 64 w 65"/>
                <a:gd name="T2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80">
                  <a:moveTo>
                    <a:pt x="64" y="80"/>
                  </a:moveTo>
                  <a:cubicBezTo>
                    <a:pt x="64" y="80"/>
                    <a:pt x="63" y="79"/>
                    <a:pt x="61" y="77"/>
                  </a:cubicBezTo>
                  <a:cubicBezTo>
                    <a:pt x="60" y="75"/>
                    <a:pt x="57" y="72"/>
                    <a:pt x="54" y="69"/>
                  </a:cubicBezTo>
                  <a:cubicBezTo>
                    <a:pt x="48" y="62"/>
                    <a:pt x="39" y="52"/>
                    <a:pt x="30" y="41"/>
                  </a:cubicBezTo>
                  <a:cubicBezTo>
                    <a:pt x="21" y="30"/>
                    <a:pt x="14" y="20"/>
                    <a:pt x="8" y="12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3" y="3"/>
                  </a:cubicBezTo>
                  <a:cubicBezTo>
                    <a:pt x="5" y="5"/>
                    <a:pt x="7" y="8"/>
                    <a:pt x="10" y="11"/>
                  </a:cubicBezTo>
                  <a:cubicBezTo>
                    <a:pt x="15" y="19"/>
                    <a:pt x="23" y="29"/>
                    <a:pt x="32" y="40"/>
                  </a:cubicBezTo>
                  <a:cubicBezTo>
                    <a:pt x="41" y="51"/>
                    <a:pt x="49" y="61"/>
                    <a:pt x="55" y="68"/>
                  </a:cubicBezTo>
                  <a:cubicBezTo>
                    <a:pt x="61" y="75"/>
                    <a:pt x="65" y="80"/>
                    <a:pt x="64" y="8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DB2A26CB-592F-4A22-AD51-D62AF1B00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" y="1911"/>
              <a:ext cx="995" cy="1199"/>
            </a:xfrm>
            <a:custGeom>
              <a:avLst/>
              <a:gdLst>
                <a:gd name="T0" fmla="*/ 79 w 419"/>
                <a:gd name="T1" fmla="*/ 486 h 505"/>
                <a:gd name="T2" fmla="*/ 9 w 419"/>
                <a:gd name="T3" fmla="*/ 249 h 505"/>
                <a:gd name="T4" fmla="*/ 17 w 419"/>
                <a:gd name="T5" fmla="*/ 208 h 505"/>
                <a:gd name="T6" fmla="*/ 53 w 419"/>
                <a:gd name="T7" fmla="*/ 195 h 505"/>
                <a:gd name="T8" fmla="*/ 72 w 419"/>
                <a:gd name="T9" fmla="*/ 224 h 505"/>
                <a:gd name="T10" fmla="*/ 104 w 419"/>
                <a:gd name="T11" fmla="*/ 258 h 505"/>
                <a:gd name="T12" fmla="*/ 133 w 419"/>
                <a:gd name="T13" fmla="*/ 263 h 505"/>
                <a:gd name="T14" fmla="*/ 149 w 419"/>
                <a:gd name="T15" fmla="*/ 226 h 505"/>
                <a:gd name="T16" fmla="*/ 154 w 419"/>
                <a:gd name="T17" fmla="*/ 147 h 505"/>
                <a:gd name="T18" fmla="*/ 161 w 419"/>
                <a:gd name="T19" fmla="*/ 105 h 505"/>
                <a:gd name="T20" fmla="*/ 190 w 419"/>
                <a:gd name="T21" fmla="*/ 78 h 505"/>
                <a:gd name="T22" fmla="*/ 222 w 419"/>
                <a:gd name="T23" fmla="*/ 98 h 505"/>
                <a:gd name="T24" fmla="*/ 221 w 419"/>
                <a:gd name="T25" fmla="*/ 115 h 505"/>
                <a:gd name="T26" fmla="*/ 229 w 419"/>
                <a:gd name="T27" fmla="*/ 130 h 505"/>
                <a:gd name="T28" fmla="*/ 245 w 419"/>
                <a:gd name="T29" fmla="*/ 125 h 505"/>
                <a:gd name="T30" fmla="*/ 282 w 419"/>
                <a:gd name="T31" fmla="*/ 76 h 505"/>
                <a:gd name="T32" fmla="*/ 317 w 419"/>
                <a:gd name="T33" fmla="*/ 26 h 505"/>
                <a:gd name="T34" fmla="*/ 371 w 419"/>
                <a:gd name="T35" fmla="*/ 0 h 505"/>
                <a:gd name="T36" fmla="*/ 416 w 419"/>
                <a:gd name="T37" fmla="*/ 35 h 505"/>
                <a:gd name="T38" fmla="*/ 393 w 419"/>
                <a:gd name="T39" fmla="*/ 89 h 505"/>
                <a:gd name="T40" fmla="*/ 323 w 419"/>
                <a:gd name="T41" fmla="*/ 148 h 505"/>
                <a:gd name="T42" fmla="*/ 311 w 419"/>
                <a:gd name="T43" fmla="*/ 159 h 505"/>
                <a:gd name="T44" fmla="*/ 325 w 419"/>
                <a:gd name="T45" fmla="*/ 181 h 505"/>
                <a:gd name="T46" fmla="*/ 357 w 419"/>
                <a:gd name="T47" fmla="*/ 187 h 505"/>
                <a:gd name="T48" fmla="*/ 383 w 419"/>
                <a:gd name="T49" fmla="*/ 206 h 505"/>
                <a:gd name="T50" fmla="*/ 362 w 419"/>
                <a:gd name="T51" fmla="*/ 244 h 505"/>
                <a:gd name="T52" fmla="*/ 279 w 419"/>
                <a:gd name="T53" fmla="*/ 285 h 505"/>
                <a:gd name="T54" fmla="*/ 249 w 419"/>
                <a:gd name="T55" fmla="*/ 297 h 505"/>
                <a:gd name="T56" fmla="*/ 238 w 419"/>
                <a:gd name="T57" fmla="*/ 326 h 505"/>
                <a:gd name="T58" fmla="*/ 266 w 419"/>
                <a:gd name="T59" fmla="*/ 340 h 505"/>
                <a:gd name="T60" fmla="*/ 298 w 419"/>
                <a:gd name="T61" fmla="*/ 330 h 505"/>
                <a:gd name="T62" fmla="*/ 354 w 419"/>
                <a:gd name="T63" fmla="*/ 345 h 505"/>
                <a:gd name="T64" fmla="*/ 356 w 419"/>
                <a:gd name="T65" fmla="*/ 384 h 505"/>
                <a:gd name="T66" fmla="*/ 333 w 419"/>
                <a:gd name="T67" fmla="*/ 418 h 505"/>
                <a:gd name="T68" fmla="*/ 211 w 419"/>
                <a:gd name="T69" fmla="*/ 491 h 505"/>
                <a:gd name="T70" fmla="*/ 79 w 419"/>
                <a:gd name="T71" fmla="*/ 486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9" h="505">
                  <a:moveTo>
                    <a:pt x="79" y="486"/>
                  </a:moveTo>
                  <a:cubicBezTo>
                    <a:pt x="10" y="430"/>
                    <a:pt x="0" y="334"/>
                    <a:pt x="9" y="249"/>
                  </a:cubicBezTo>
                  <a:cubicBezTo>
                    <a:pt x="10" y="235"/>
                    <a:pt x="9" y="220"/>
                    <a:pt x="17" y="208"/>
                  </a:cubicBezTo>
                  <a:cubicBezTo>
                    <a:pt x="25" y="196"/>
                    <a:pt x="41" y="189"/>
                    <a:pt x="53" y="195"/>
                  </a:cubicBezTo>
                  <a:cubicBezTo>
                    <a:pt x="64" y="201"/>
                    <a:pt x="67" y="214"/>
                    <a:pt x="72" y="224"/>
                  </a:cubicBezTo>
                  <a:cubicBezTo>
                    <a:pt x="79" y="238"/>
                    <a:pt x="90" y="250"/>
                    <a:pt x="104" y="258"/>
                  </a:cubicBezTo>
                  <a:cubicBezTo>
                    <a:pt x="112" y="264"/>
                    <a:pt x="123" y="267"/>
                    <a:pt x="133" y="263"/>
                  </a:cubicBezTo>
                  <a:cubicBezTo>
                    <a:pt x="145" y="257"/>
                    <a:pt x="148" y="240"/>
                    <a:pt x="149" y="226"/>
                  </a:cubicBezTo>
                  <a:cubicBezTo>
                    <a:pt x="150" y="200"/>
                    <a:pt x="152" y="173"/>
                    <a:pt x="154" y="147"/>
                  </a:cubicBezTo>
                  <a:cubicBezTo>
                    <a:pt x="155" y="133"/>
                    <a:pt x="156" y="119"/>
                    <a:pt x="161" y="105"/>
                  </a:cubicBezTo>
                  <a:cubicBezTo>
                    <a:pt x="166" y="92"/>
                    <a:pt x="177" y="81"/>
                    <a:pt x="190" y="78"/>
                  </a:cubicBezTo>
                  <a:cubicBezTo>
                    <a:pt x="204" y="75"/>
                    <a:pt x="220" y="84"/>
                    <a:pt x="222" y="98"/>
                  </a:cubicBezTo>
                  <a:cubicBezTo>
                    <a:pt x="223" y="104"/>
                    <a:pt x="221" y="109"/>
                    <a:pt x="221" y="115"/>
                  </a:cubicBezTo>
                  <a:cubicBezTo>
                    <a:pt x="221" y="121"/>
                    <a:pt x="224" y="128"/>
                    <a:pt x="229" y="130"/>
                  </a:cubicBezTo>
                  <a:cubicBezTo>
                    <a:pt x="234" y="132"/>
                    <a:pt x="240" y="128"/>
                    <a:pt x="245" y="125"/>
                  </a:cubicBezTo>
                  <a:cubicBezTo>
                    <a:pt x="260" y="111"/>
                    <a:pt x="272" y="94"/>
                    <a:pt x="282" y="76"/>
                  </a:cubicBezTo>
                  <a:cubicBezTo>
                    <a:pt x="293" y="58"/>
                    <a:pt x="303" y="40"/>
                    <a:pt x="317" y="26"/>
                  </a:cubicBezTo>
                  <a:cubicBezTo>
                    <a:pt x="331" y="11"/>
                    <a:pt x="351" y="0"/>
                    <a:pt x="371" y="0"/>
                  </a:cubicBezTo>
                  <a:cubicBezTo>
                    <a:pt x="391" y="0"/>
                    <a:pt x="412" y="14"/>
                    <a:pt x="416" y="35"/>
                  </a:cubicBezTo>
                  <a:cubicBezTo>
                    <a:pt x="419" y="55"/>
                    <a:pt x="406" y="74"/>
                    <a:pt x="393" y="89"/>
                  </a:cubicBezTo>
                  <a:cubicBezTo>
                    <a:pt x="372" y="112"/>
                    <a:pt x="349" y="132"/>
                    <a:pt x="323" y="148"/>
                  </a:cubicBezTo>
                  <a:cubicBezTo>
                    <a:pt x="318" y="150"/>
                    <a:pt x="313" y="153"/>
                    <a:pt x="311" y="159"/>
                  </a:cubicBezTo>
                  <a:cubicBezTo>
                    <a:pt x="307" y="168"/>
                    <a:pt x="315" y="178"/>
                    <a:pt x="325" y="181"/>
                  </a:cubicBezTo>
                  <a:cubicBezTo>
                    <a:pt x="335" y="186"/>
                    <a:pt x="346" y="185"/>
                    <a:pt x="357" y="187"/>
                  </a:cubicBezTo>
                  <a:cubicBezTo>
                    <a:pt x="368" y="189"/>
                    <a:pt x="380" y="195"/>
                    <a:pt x="383" y="206"/>
                  </a:cubicBezTo>
                  <a:cubicBezTo>
                    <a:pt x="388" y="221"/>
                    <a:pt x="375" y="235"/>
                    <a:pt x="362" y="244"/>
                  </a:cubicBezTo>
                  <a:cubicBezTo>
                    <a:pt x="337" y="262"/>
                    <a:pt x="309" y="276"/>
                    <a:pt x="279" y="285"/>
                  </a:cubicBezTo>
                  <a:cubicBezTo>
                    <a:pt x="269" y="288"/>
                    <a:pt x="257" y="290"/>
                    <a:pt x="249" y="297"/>
                  </a:cubicBezTo>
                  <a:cubicBezTo>
                    <a:pt x="240" y="304"/>
                    <a:pt x="234" y="316"/>
                    <a:pt x="238" y="326"/>
                  </a:cubicBezTo>
                  <a:cubicBezTo>
                    <a:pt x="243" y="337"/>
                    <a:pt x="255" y="341"/>
                    <a:pt x="266" y="340"/>
                  </a:cubicBezTo>
                  <a:cubicBezTo>
                    <a:pt x="277" y="338"/>
                    <a:pt x="288" y="333"/>
                    <a:pt x="298" y="330"/>
                  </a:cubicBezTo>
                  <a:cubicBezTo>
                    <a:pt x="318" y="324"/>
                    <a:pt x="343" y="327"/>
                    <a:pt x="354" y="345"/>
                  </a:cubicBezTo>
                  <a:cubicBezTo>
                    <a:pt x="362" y="356"/>
                    <a:pt x="361" y="371"/>
                    <a:pt x="356" y="384"/>
                  </a:cubicBezTo>
                  <a:cubicBezTo>
                    <a:pt x="351" y="397"/>
                    <a:pt x="342" y="408"/>
                    <a:pt x="333" y="418"/>
                  </a:cubicBezTo>
                  <a:cubicBezTo>
                    <a:pt x="299" y="452"/>
                    <a:pt x="257" y="479"/>
                    <a:pt x="211" y="491"/>
                  </a:cubicBezTo>
                  <a:cubicBezTo>
                    <a:pt x="165" y="504"/>
                    <a:pt x="123" y="505"/>
                    <a:pt x="79" y="486"/>
                  </a:cubicBezTo>
                </a:path>
              </a:pathLst>
            </a:cu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024B7C27-4F75-4E18-9101-9B78CC90F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1" y="1905"/>
              <a:ext cx="760" cy="1189"/>
            </a:xfrm>
            <a:custGeom>
              <a:avLst/>
              <a:gdLst>
                <a:gd name="T0" fmla="*/ 274 w 320"/>
                <a:gd name="T1" fmla="*/ 0 h 501"/>
                <a:gd name="T2" fmla="*/ 221 w 320"/>
                <a:gd name="T3" fmla="*/ 26 h 501"/>
                <a:gd name="T4" fmla="*/ 186 w 320"/>
                <a:gd name="T5" fmla="*/ 76 h 501"/>
                <a:gd name="T6" fmla="*/ 178 w 320"/>
                <a:gd name="T7" fmla="*/ 89 h 501"/>
                <a:gd name="T8" fmla="*/ 177 w 320"/>
                <a:gd name="T9" fmla="*/ 91 h 501"/>
                <a:gd name="T10" fmla="*/ 149 w 320"/>
                <a:gd name="T11" fmla="*/ 125 h 501"/>
                <a:gd name="T12" fmla="*/ 136 w 320"/>
                <a:gd name="T13" fmla="*/ 131 h 501"/>
                <a:gd name="T14" fmla="*/ 133 w 320"/>
                <a:gd name="T15" fmla="*/ 130 h 501"/>
                <a:gd name="T16" fmla="*/ 125 w 320"/>
                <a:gd name="T17" fmla="*/ 115 h 501"/>
                <a:gd name="T18" fmla="*/ 125 w 320"/>
                <a:gd name="T19" fmla="*/ 115 h 501"/>
                <a:gd name="T20" fmla="*/ 126 w 320"/>
                <a:gd name="T21" fmla="*/ 101 h 501"/>
                <a:gd name="T22" fmla="*/ 126 w 320"/>
                <a:gd name="T23" fmla="*/ 98 h 501"/>
                <a:gd name="T24" fmla="*/ 100 w 320"/>
                <a:gd name="T25" fmla="*/ 77 h 501"/>
                <a:gd name="T26" fmla="*/ 94 w 320"/>
                <a:gd name="T27" fmla="*/ 78 h 501"/>
                <a:gd name="T28" fmla="*/ 67 w 320"/>
                <a:gd name="T29" fmla="*/ 101 h 501"/>
                <a:gd name="T30" fmla="*/ 65 w 320"/>
                <a:gd name="T31" fmla="*/ 105 h 501"/>
                <a:gd name="T32" fmla="*/ 62 w 320"/>
                <a:gd name="T33" fmla="*/ 114 h 501"/>
                <a:gd name="T34" fmla="*/ 58 w 320"/>
                <a:gd name="T35" fmla="*/ 147 h 501"/>
                <a:gd name="T36" fmla="*/ 53 w 320"/>
                <a:gd name="T37" fmla="*/ 226 h 501"/>
                <a:gd name="T38" fmla="*/ 37 w 320"/>
                <a:gd name="T39" fmla="*/ 263 h 501"/>
                <a:gd name="T40" fmla="*/ 28 w 320"/>
                <a:gd name="T41" fmla="*/ 265 h 501"/>
                <a:gd name="T42" fmla="*/ 25 w 320"/>
                <a:gd name="T43" fmla="*/ 265 h 501"/>
                <a:gd name="T44" fmla="*/ 19 w 320"/>
                <a:gd name="T45" fmla="*/ 264 h 501"/>
                <a:gd name="T46" fmla="*/ 8 w 320"/>
                <a:gd name="T47" fmla="*/ 258 h 501"/>
                <a:gd name="T48" fmla="*/ 7 w 320"/>
                <a:gd name="T49" fmla="*/ 258 h 501"/>
                <a:gd name="T50" fmla="*/ 5 w 320"/>
                <a:gd name="T51" fmla="*/ 257 h 501"/>
                <a:gd name="T52" fmla="*/ 0 w 320"/>
                <a:gd name="T53" fmla="*/ 253 h 501"/>
                <a:gd name="T54" fmla="*/ 0 w 320"/>
                <a:gd name="T55" fmla="*/ 492 h 501"/>
                <a:gd name="T56" fmla="*/ 53 w 320"/>
                <a:gd name="T57" fmla="*/ 501 h 501"/>
                <a:gd name="T58" fmla="*/ 115 w 320"/>
                <a:gd name="T59" fmla="*/ 491 h 501"/>
                <a:gd name="T60" fmla="*/ 237 w 320"/>
                <a:gd name="T61" fmla="*/ 418 h 501"/>
                <a:gd name="T62" fmla="*/ 260 w 320"/>
                <a:gd name="T63" fmla="*/ 384 h 501"/>
                <a:gd name="T64" fmla="*/ 264 w 320"/>
                <a:gd name="T65" fmla="*/ 365 h 501"/>
                <a:gd name="T66" fmla="*/ 258 w 320"/>
                <a:gd name="T67" fmla="*/ 345 h 501"/>
                <a:gd name="T68" fmla="*/ 221 w 320"/>
                <a:gd name="T69" fmla="*/ 327 h 501"/>
                <a:gd name="T70" fmla="*/ 202 w 320"/>
                <a:gd name="T71" fmla="*/ 330 h 501"/>
                <a:gd name="T72" fmla="*/ 170 w 320"/>
                <a:gd name="T73" fmla="*/ 340 h 501"/>
                <a:gd name="T74" fmla="*/ 166 w 320"/>
                <a:gd name="T75" fmla="*/ 340 h 501"/>
                <a:gd name="T76" fmla="*/ 142 w 320"/>
                <a:gd name="T77" fmla="*/ 326 h 501"/>
                <a:gd name="T78" fmla="*/ 141 w 320"/>
                <a:gd name="T79" fmla="*/ 319 h 501"/>
                <a:gd name="T80" fmla="*/ 153 w 320"/>
                <a:gd name="T81" fmla="*/ 297 h 501"/>
                <a:gd name="T82" fmla="*/ 183 w 320"/>
                <a:gd name="T83" fmla="*/ 285 h 501"/>
                <a:gd name="T84" fmla="*/ 266 w 320"/>
                <a:gd name="T85" fmla="*/ 244 h 501"/>
                <a:gd name="T86" fmla="*/ 288 w 320"/>
                <a:gd name="T87" fmla="*/ 212 h 501"/>
                <a:gd name="T88" fmla="*/ 287 w 320"/>
                <a:gd name="T89" fmla="*/ 206 h 501"/>
                <a:gd name="T90" fmla="*/ 261 w 320"/>
                <a:gd name="T91" fmla="*/ 187 h 501"/>
                <a:gd name="T92" fmla="*/ 229 w 320"/>
                <a:gd name="T93" fmla="*/ 181 h 501"/>
                <a:gd name="T94" fmla="*/ 214 w 320"/>
                <a:gd name="T95" fmla="*/ 163 h 501"/>
                <a:gd name="T96" fmla="*/ 215 w 320"/>
                <a:gd name="T97" fmla="*/ 159 h 501"/>
                <a:gd name="T98" fmla="*/ 227 w 320"/>
                <a:gd name="T99" fmla="*/ 148 h 501"/>
                <a:gd name="T100" fmla="*/ 297 w 320"/>
                <a:gd name="T101" fmla="*/ 89 h 501"/>
                <a:gd name="T102" fmla="*/ 320 w 320"/>
                <a:gd name="T103" fmla="*/ 42 h 501"/>
                <a:gd name="T104" fmla="*/ 320 w 320"/>
                <a:gd name="T105" fmla="*/ 35 h 501"/>
                <a:gd name="T106" fmla="*/ 275 w 320"/>
                <a:gd name="T107" fmla="*/ 0 h 501"/>
                <a:gd name="T108" fmla="*/ 274 w 320"/>
                <a:gd name="T109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0" h="501">
                  <a:moveTo>
                    <a:pt x="274" y="0"/>
                  </a:moveTo>
                  <a:cubicBezTo>
                    <a:pt x="254" y="0"/>
                    <a:pt x="235" y="11"/>
                    <a:pt x="221" y="26"/>
                  </a:cubicBezTo>
                  <a:cubicBezTo>
                    <a:pt x="207" y="40"/>
                    <a:pt x="197" y="58"/>
                    <a:pt x="186" y="76"/>
                  </a:cubicBezTo>
                  <a:cubicBezTo>
                    <a:pt x="183" y="80"/>
                    <a:pt x="181" y="85"/>
                    <a:pt x="178" y="89"/>
                  </a:cubicBezTo>
                  <a:cubicBezTo>
                    <a:pt x="178" y="90"/>
                    <a:pt x="177" y="90"/>
                    <a:pt x="177" y="91"/>
                  </a:cubicBezTo>
                  <a:cubicBezTo>
                    <a:pt x="169" y="103"/>
                    <a:pt x="160" y="115"/>
                    <a:pt x="149" y="125"/>
                  </a:cubicBezTo>
                  <a:cubicBezTo>
                    <a:pt x="145" y="128"/>
                    <a:pt x="141" y="131"/>
                    <a:pt x="136" y="131"/>
                  </a:cubicBezTo>
                  <a:cubicBezTo>
                    <a:pt x="135" y="131"/>
                    <a:pt x="134" y="130"/>
                    <a:pt x="133" y="130"/>
                  </a:cubicBezTo>
                  <a:cubicBezTo>
                    <a:pt x="128" y="128"/>
                    <a:pt x="125" y="121"/>
                    <a:pt x="125" y="115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5" y="111"/>
                    <a:pt x="126" y="106"/>
                    <a:pt x="126" y="101"/>
                  </a:cubicBezTo>
                  <a:cubicBezTo>
                    <a:pt x="126" y="100"/>
                    <a:pt x="126" y="99"/>
                    <a:pt x="126" y="98"/>
                  </a:cubicBezTo>
                  <a:cubicBezTo>
                    <a:pt x="124" y="86"/>
                    <a:pt x="112" y="77"/>
                    <a:pt x="100" y="77"/>
                  </a:cubicBezTo>
                  <a:cubicBezTo>
                    <a:pt x="98" y="77"/>
                    <a:pt x="96" y="77"/>
                    <a:pt x="94" y="78"/>
                  </a:cubicBezTo>
                  <a:cubicBezTo>
                    <a:pt x="82" y="80"/>
                    <a:pt x="73" y="89"/>
                    <a:pt x="67" y="101"/>
                  </a:cubicBezTo>
                  <a:cubicBezTo>
                    <a:pt x="66" y="102"/>
                    <a:pt x="66" y="104"/>
                    <a:pt x="65" y="105"/>
                  </a:cubicBezTo>
                  <a:cubicBezTo>
                    <a:pt x="64" y="108"/>
                    <a:pt x="63" y="111"/>
                    <a:pt x="62" y="114"/>
                  </a:cubicBezTo>
                  <a:cubicBezTo>
                    <a:pt x="59" y="125"/>
                    <a:pt x="58" y="136"/>
                    <a:pt x="58" y="147"/>
                  </a:cubicBezTo>
                  <a:cubicBezTo>
                    <a:pt x="56" y="173"/>
                    <a:pt x="54" y="200"/>
                    <a:pt x="53" y="226"/>
                  </a:cubicBezTo>
                  <a:cubicBezTo>
                    <a:pt x="52" y="240"/>
                    <a:pt x="49" y="257"/>
                    <a:pt x="37" y="263"/>
                  </a:cubicBezTo>
                  <a:cubicBezTo>
                    <a:pt x="34" y="264"/>
                    <a:pt x="31" y="265"/>
                    <a:pt x="28" y="265"/>
                  </a:cubicBezTo>
                  <a:cubicBezTo>
                    <a:pt x="27" y="265"/>
                    <a:pt x="26" y="265"/>
                    <a:pt x="25" y="265"/>
                  </a:cubicBezTo>
                  <a:cubicBezTo>
                    <a:pt x="23" y="265"/>
                    <a:pt x="21" y="264"/>
                    <a:pt x="19" y="264"/>
                  </a:cubicBezTo>
                  <a:cubicBezTo>
                    <a:pt x="15" y="262"/>
                    <a:pt x="11" y="260"/>
                    <a:pt x="8" y="258"/>
                  </a:cubicBezTo>
                  <a:cubicBezTo>
                    <a:pt x="7" y="258"/>
                    <a:pt x="7" y="258"/>
                    <a:pt x="7" y="258"/>
                  </a:cubicBezTo>
                  <a:cubicBezTo>
                    <a:pt x="6" y="257"/>
                    <a:pt x="6" y="257"/>
                    <a:pt x="5" y="257"/>
                  </a:cubicBezTo>
                  <a:cubicBezTo>
                    <a:pt x="3" y="256"/>
                    <a:pt x="1" y="254"/>
                    <a:pt x="0" y="253"/>
                  </a:cubicBezTo>
                  <a:cubicBezTo>
                    <a:pt x="0" y="492"/>
                    <a:pt x="0" y="492"/>
                    <a:pt x="0" y="492"/>
                  </a:cubicBezTo>
                  <a:cubicBezTo>
                    <a:pt x="17" y="498"/>
                    <a:pt x="35" y="501"/>
                    <a:pt x="53" y="501"/>
                  </a:cubicBezTo>
                  <a:cubicBezTo>
                    <a:pt x="73" y="501"/>
                    <a:pt x="94" y="497"/>
                    <a:pt x="115" y="491"/>
                  </a:cubicBezTo>
                  <a:cubicBezTo>
                    <a:pt x="161" y="479"/>
                    <a:pt x="203" y="452"/>
                    <a:pt x="237" y="418"/>
                  </a:cubicBezTo>
                  <a:cubicBezTo>
                    <a:pt x="246" y="408"/>
                    <a:pt x="255" y="397"/>
                    <a:pt x="260" y="384"/>
                  </a:cubicBezTo>
                  <a:cubicBezTo>
                    <a:pt x="263" y="378"/>
                    <a:pt x="264" y="372"/>
                    <a:pt x="264" y="365"/>
                  </a:cubicBezTo>
                  <a:cubicBezTo>
                    <a:pt x="264" y="358"/>
                    <a:pt x="262" y="351"/>
                    <a:pt x="258" y="345"/>
                  </a:cubicBezTo>
                  <a:cubicBezTo>
                    <a:pt x="250" y="332"/>
                    <a:pt x="236" y="327"/>
                    <a:pt x="221" y="327"/>
                  </a:cubicBezTo>
                  <a:cubicBezTo>
                    <a:pt x="215" y="327"/>
                    <a:pt x="208" y="328"/>
                    <a:pt x="202" y="330"/>
                  </a:cubicBezTo>
                  <a:cubicBezTo>
                    <a:pt x="192" y="333"/>
                    <a:pt x="181" y="338"/>
                    <a:pt x="170" y="340"/>
                  </a:cubicBezTo>
                  <a:cubicBezTo>
                    <a:pt x="169" y="340"/>
                    <a:pt x="168" y="340"/>
                    <a:pt x="166" y="340"/>
                  </a:cubicBezTo>
                  <a:cubicBezTo>
                    <a:pt x="156" y="340"/>
                    <a:pt x="146" y="336"/>
                    <a:pt x="142" y="326"/>
                  </a:cubicBezTo>
                  <a:cubicBezTo>
                    <a:pt x="141" y="324"/>
                    <a:pt x="141" y="322"/>
                    <a:pt x="141" y="319"/>
                  </a:cubicBezTo>
                  <a:cubicBezTo>
                    <a:pt x="141" y="311"/>
                    <a:pt x="146" y="302"/>
                    <a:pt x="153" y="297"/>
                  </a:cubicBezTo>
                  <a:cubicBezTo>
                    <a:pt x="161" y="290"/>
                    <a:pt x="173" y="288"/>
                    <a:pt x="183" y="285"/>
                  </a:cubicBezTo>
                  <a:cubicBezTo>
                    <a:pt x="213" y="276"/>
                    <a:pt x="241" y="262"/>
                    <a:pt x="266" y="244"/>
                  </a:cubicBezTo>
                  <a:cubicBezTo>
                    <a:pt x="277" y="236"/>
                    <a:pt x="288" y="225"/>
                    <a:pt x="288" y="212"/>
                  </a:cubicBezTo>
                  <a:cubicBezTo>
                    <a:pt x="288" y="210"/>
                    <a:pt x="288" y="208"/>
                    <a:pt x="287" y="206"/>
                  </a:cubicBezTo>
                  <a:cubicBezTo>
                    <a:pt x="284" y="195"/>
                    <a:pt x="272" y="189"/>
                    <a:pt x="261" y="187"/>
                  </a:cubicBezTo>
                  <a:cubicBezTo>
                    <a:pt x="250" y="185"/>
                    <a:pt x="239" y="186"/>
                    <a:pt x="229" y="181"/>
                  </a:cubicBezTo>
                  <a:cubicBezTo>
                    <a:pt x="221" y="178"/>
                    <a:pt x="214" y="171"/>
                    <a:pt x="214" y="163"/>
                  </a:cubicBezTo>
                  <a:cubicBezTo>
                    <a:pt x="214" y="162"/>
                    <a:pt x="214" y="160"/>
                    <a:pt x="215" y="159"/>
                  </a:cubicBezTo>
                  <a:cubicBezTo>
                    <a:pt x="217" y="153"/>
                    <a:pt x="222" y="150"/>
                    <a:pt x="227" y="148"/>
                  </a:cubicBezTo>
                  <a:cubicBezTo>
                    <a:pt x="253" y="132"/>
                    <a:pt x="276" y="112"/>
                    <a:pt x="297" y="89"/>
                  </a:cubicBezTo>
                  <a:cubicBezTo>
                    <a:pt x="309" y="76"/>
                    <a:pt x="320" y="59"/>
                    <a:pt x="320" y="42"/>
                  </a:cubicBezTo>
                  <a:cubicBezTo>
                    <a:pt x="320" y="39"/>
                    <a:pt x="320" y="37"/>
                    <a:pt x="320" y="35"/>
                  </a:cubicBezTo>
                  <a:cubicBezTo>
                    <a:pt x="316" y="14"/>
                    <a:pt x="295" y="0"/>
                    <a:pt x="275" y="0"/>
                  </a:cubicBezTo>
                  <a:cubicBezTo>
                    <a:pt x="275" y="0"/>
                    <a:pt x="274" y="0"/>
                    <a:pt x="274" y="0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D5255C07-C685-4D53-B05B-0AA326740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6" y="1944"/>
              <a:ext cx="767" cy="1270"/>
            </a:xfrm>
            <a:custGeom>
              <a:avLst/>
              <a:gdLst>
                <a:gd name="T0" fmla="*/ 0 w 323"/>
                <a:gd name="T1" fmla="*/ 535 h 535"/>
                <a:gd name="T2" fmla="*/ 31 w 323"/>
                <a:gd name="T3" fmla="*/ 420 h 535"/>
                <a:gd name="T4" fmla="*/ 91 w 323"/>
                <a:gd name="T5" fmla="*/ 287 h 535"/>
                <a:gd name="T6" fmla="*/ 108 w 323"/>
                <a:gd name="T7" fmla="*/ 253 h 535"/>
                <a:gd name="T8" fmla="*/ 126 w 323"/>
                <a:gd name="T9" fmla="*/ 221 h 535"/>
                <a:gd name="T10" fmla="*/ 165 w 323"/>
                <a:gd name="T11" fmla="*/ 162 h 535"/>
                <a:gd name="T12" fmla="*/ 204 w 323"/>
                <a:gd name="T13" fmla="*/ 113 h 535"/>
                <a:gd name="T14" fmla="*/ 240 w 323"/>
                <a:gd name="T15" fmla="*/ 71 h 535"/>
                <a:gd name="T16" fmla="*/ 299 w 323"/>
                <a:gd name="T17" fmla="*/ 17 h 535"/>
                <a:gd name="T18" fmla="*/ 316 w 323"/>
                <a:gd name="T19" fmla="*/ 4 h 535"/>
                <a:gd name="T20" fmla="*/ 321 w 323"/>
                <a:gd name="T21" fmla="*/ 1 h 535"/>
                <a:gd name="T22" fmla="*/ 323 w 323"/>
                <a:gd name="T23" fmla="*/ 0 h 535"/>
                <a:gd name="T24" fmla="*/ 321 w 323"/>
                <a:gd name="T25" fmla="*/ 1 h 535"/>
                <a:gd name="T26" fmla="*/ 317 w 323"/>
                <a:gd name="T27" fmla="*/ 4 h 535"/>
                <a:gd name="T28" fmla="*/ 300 w 323"/>
                <a:gd name="T29" fmla="*/ 18 h 535"/>
                <a:gd name="T30" fmla="*/ 242 w 323"/>
                <a:gd name="T31" fmla="*/ 72 h 535"/>
                <a:gd name="T32" fmla="*/ 206 w 323"/>
                <a:gd name="T33" fmla="*/ 114 h 535"/>
                <a:gd name="T34" fmla="*/ 167 w 323"/>
                <a:gd name="T35" fmla="*/ 164 h 535"/>
                <a:gd name="T36" fmla="*/ 128 w 323"/>
                <a:gd name="T37" fmla="*/ 222 h 535"/>
                <a:gd name="T38" fmla="*/ 110 w 323"/>
                <a:gd name="T39" fmla="*/ 254 h 535"/>
                <a:gd name="T40" fmla="*/ 93 w 323"/>
                <a:gd name="T41" fmla="*/ 288 h 535"/>
                <a:gd name="T42" fmla="*/ 33 w 323"/>
                <a:gd name="T43" fmla="*/ 421 h 535"/>
                <a:gd name="T44" fmla="*/ 2 w 323"/>
                <a:gd name="T4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3" h="535">
                  <a:moveTo>
                    <a:pt x="0" y="535"/>
                  </a:moveTo>
                  <a:cubicBezTo>
                    <a:pt x="5" y="501"/>
                    <a:pt x="15" y="462"/>
                    <a:pt x="31" y="420"/>
                  </a:cubicBezTo>
                  <a:cubicBezTo>
                    <a:pt x="46" y="378"/>
                    <a:pt x="67" y="333"/>
                    <a:pt x="91" y="287"/>
                  </a:cubicBezTo>
                  <a:cubicBezTo>
                    <a:pt x="96" y="276"/>
                    <a:pt x="102" y="264"/>
                    <a:pt x="108" y="253"/>
                  </a:cubicBezTo>
                  <a:cubicBezTo>
                    <a:pt x="114" y="242"/>
                    <a:pt x="119" y="231"/>
                    <a:pt x="126" y="221"/>
                  </a:cubicBezTo>
                  <a:cubicBezTo>
                    <a:pt x="138" y="200"/>
                    <a:pt x="151" y="180"/>
                    <a:pt x="165" y="162"/>
                  </a:cubicBezTo>
                  <a:cubicBezTo>
                    <a:pt x="178" y="145"/>
                    <a:pt x="192" y="128"/>
                    <a:pt x="204" y="113"/>
                  </a:cubicBezTo>
                  <a:cubicBezTo>
                    <a:pt x="217" y="97"/>
                    <a:pt x="229" y="83"/>
                    <a:pt x="240" y="71"/>
                  </a:cubicBezTo>
                  <a:cubicBezTo>
                    <a:pt x="263" y="46"/>
                    <a:pt x="284" y="29"/>
                    <a:pt x="299" y="17"/>
                  </a:cubicBezTo>
                  <a:cubicBezTo>
                    <a:pt x="306" y="11"/>
                    <a:pt x="312" y="7"/>
                    <a:pt x="316" y="4"/>
                  </a:cubicBezTo>
                  <a:cubicBezTo>
                    <a:pt x="318" y="3"/>
                    <a:pt x="320" y="2"/>
                    <a:pt x="321" y="1"/>
                  </a:cubicBezTo>
                  <a:cubicBezTo>
                    <a:pt x="322" y="0"/>
                    <a:pt x="323" y="0"/>
                    <a:pt x="323" y="0"/>
                  </a:cubicBezTo>
                  <a:cubicBezTo>
                    <a:pt x="323" y="0"/>
                    <a:pt x="322" y="0"/>
                    <a:pt x="321" y="1"/>
                  </a:cubicBezTo>
                  <a:cubicBezTo>
                    <a:pt x="320" y="2"/>
                    <a:pt x="318" y="3"/>
                    <a:pt x="317" y="4"/>
                  </a:cubicBezTo>
                  <a:cubicBezTo>
                    <a:pt x="313" y="8"/>
                    <a:pt x="307" y="12"/>
                    <a:pt x="300" y="18"/>
                  </a:cubicBezTo>
                  <a:cubicBezTo>
                    <a:pt x="285" y="30"/>
                    <a:pt x="264" y="48"/>
                    <a:pt x="242" y="72"/>
                  </a:cubicBezTo>
                  <a:cubicBezTo>
                    <a:pt x="230" y="85"/>
                    <a:pt x="218" y="99"/>
                    <a:pt x="206" y="114"/>
                  </a:cubicBezTo>
                  <a:cubicBezTo>
                    <a:pt x="193" y="130"/>
                    <a:pt x="180" y="146"/>
                    <a:pt x="167" y="164"/>
                  </a:cubicBezTo>
                  <a:cubicBezTo>
                    <a:pt x="153" y="182"/>
                    <a:pt x="140" y="201"/>
                    <a:pt x="128" y="222"/>
                  </a:cubicBezTo>
                  <a:cubicBezTo>
                    <a:pt x="122" y="232"/>
                    <a:pt x="116" y="243"/>
                    <a:pt x="110" y="254"/>
                  </a:cubicBezTo>
                  <a:cubicBezTo>
                    <a:pt x="105" y="266"/>
                    <a:pt x="99" y="277"/>
                    <a:pt x="93" y="288"/>
                  </a:cubicBezTo>
                  <a:cubicBezTo>
                    <a:pt x="70" y="334"/>
                    <a:pt x="49" y="379"/>
                    <a:pt x="33" y="421"/>
                  </a:cubicBezTo>
                  <a:cubicBezTo>
                    <a:pt x="18" y="463"/>
                    <a:pt x="7" y="502"/>
                    <a:pt x="2" y="53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FF36019E-09F1-4D78-9DEB-B484869E4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2" y="2096"/>
              <a:ext cx="26" cy="370"/>
            </a:xfrm>
            <a:custGeom>
              <a:avLst/>
              <a:gdLst>
                <a:gd name="T0" fmla="*/ 10 w 11"/>
                <a:gd name="T1" fmla="*/ 156 h 156"/>
                <a:gd name="T2" fmla="*/ 9 w 11"/>
                <a:gd name="T3" fmla="*/ 150 h 156"/>
                <a:gd name="T4" fmla="*/ 8 w 11"/>
                <a:gd name="T5" fmla="*/ 134 h 156"/>
                <a:gd name="T6" fmla="*/ 5 w 11"/>
                <a:gd name="T7" fmla="*/ 78 h 156"/>
                <a:gd name="T8" fmla="*/ 2 w 11"/>
                <a:gd name="T9" fmla="*/ 23 h 156"/>
                <a:gd name="T10" fmla="*/ 1 w 11"/>
                <a:gd name="T11" fmla="*/ 6 h 156"/>
                <a:gd name="T12" fmla="*/ 0 w 11"/>
                <a:gd name="T13" fmla="*/ 0 h 156"/>
                <a:gd name="T14" fmla="*/ 2 w 11"/>
                <a:gd name="T15" fmla="*/ 6 h 156"/>
                <a:gd name="T16" fmla="*/ 4 w 11"/>
                <a:gd name="T17" fmla="*/ 22 h 156"/>
                <a:gd name="T18" fmla="*/ 8 w 11"/>
                <a:gd name="T19" fmla="*/ 78 h 156"/>
                <a:gd name="T20" fmla="*/ 10 w 11"/>
                <a:gd name="T21" fmla="*/ 133 h 156"/>
                <a:gd name="T22" fmla="*/ 10 w 11"/>
                <a:gd name="T23" fmla="*/ 150 h 156"/>
                <a:gd name="T24" fmla="*/ 10 w 11"/>
                <a:gd name="T2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56">
                  <a:moveTo>
                    <a:pt x="10" y="156"/>
                  </a:moveTo>
                  <a:cubicBezTo>
                    <a:pt x="10" y="156"/>
                    <a:pt x="10" y="154"/>
                    <a:pt x="9" y="150"/>
                  </a:cubicBezTo>
                  <a:cubicBezTo>
                    <a:pt x="9" y="146"/>
                    <a:pt x="8" y="141"/>
                    <a:pt x="8" y="134"/>
                  </a:cubicBezTo>
                  <a:cubicBezTo>
                    <a:pt x="7" y="119"/>
                    <a:pt x="6" y="100"/>
                    <a:pt x="5" y="78"/>
                  </a:cubicBezTo>
                  <a:cubicBezTo>
                    <a:pt x="5" y="56"/>
                    <a:pt x="4" y="37"/>
                    <a:pt x="2" y="23"/>
                  </a:cubicBezTo>
                  <a:cubicBezTo>
                    <a:pt x="2" y="16"/>
                    <a:pt x="1" y="10"/>
                    <a:pt x="1" y="6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1" y="2"/>
                    <a:pt x="2" y="6"/>
                  </a:cubicBezTo>
                  <a:cubicBezTo>
                    <a:pt x="2" y="10"/>
                    <a:pt x="3" y="15"/>
                    <a:pt x="4" y="22"/>
                  </a:cubicBezTo>
                  <a:cubicBezTo>
                    <a:pt x="6" y="37"/>
                    <a:pt x="7" y="56"/>
                    <a:pt x="8" y="78"/>
                  </a:cubicBezTo>
                  <a:cubicBezTo>
                    <a:pt x="9" y="99"/>
                    <a:pt x="9" y="119"/>
                    <a:pt x="10" y="133"/>
                  </a:cubicBezTo>
                  <a:cubicBezTo>
                    <a:pt x="10" y="140"/>
                    <a:pt x="10" y="146"/>
                    <a:pt x="10" y="150"/>
                  </a:cubicBezTo>
                  <a:cubicBezTo>
                    <a:pt x="11" y="154"/>
                    <a:pt x="11" y="156"/>
                    <a:pt x="10" y="1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82BF4541-9E18-4658-B27C-39E8F3D6F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" y="2414"/>
              <a:ext cx="437" cy="55"/>
            </a:xfrm>
            <a:custGeom>
              <a:avLst/>
              <a:gdLst>
                <a:gd name="T0" fmla="*/ 184 w 184"/>
                <a:gd name="T1" fmla="*/ 1 h 23"/>
                <a:gd name="T2" fmla="*/ 177 w 184"/>
                <a:gd name="T3" fmla="*/ 1 h 23"/>
                <a:gd name="T4" fmla="*/ 157 w 184"/>
                <a:gd name="T5" fmla="*/ 2 h 23"/>
                <a:gd name="T6" fmla="*/ 92 w 184"/>
                <a:gd name="T7" fmla="*/ 7 h 23"/>
                <a:gd name="T8" fmla="*/ 27 w 184"/>
                <a:gd name="T9" fmla="*/ 17 h 23"/>
                <a:gd name="T10" fmla="*/ 8 w 184"/>
                <a:gd name="T11" fmla="*/ 21 h 23"/>
                <a:gd name="T12" fmla="*/ 0 w 184"/>
                <a:gd name="T13" fmla="*/ 22 h 23"/>
                <a:gd name="T14" fmla="*/ 7 w 184"/>
                <a:gd name="T15" fmla="*/ 20 h 23"/>
                <a:gd name="T16" fmla="*/ 27 w 184"/>
                <a:gd name="T17" fmla="*/ 15 h 23"/>
                <a:gd name="T18" fmla="*/ 91 w 184"/>
                <a:gd name="T19" fmla="*/ 5 h 23"/>
                <a:gd name="T20" fmla="*/ 157 w 184"/>
                <a:gd name="T21" fmla="*/ 0 h 23"/>
                <a:gd name="T22" fmla="*/ 177 w 184"/>
                <a:gd name="T23" fmla="*/ 0 h 23"/>
                <a:gd name="T24" fmla="*/ 184 w 184"/>
                <a:gd name="T2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3">
                  <a:moveTo>
                    <a:pt x="184" y="1"/>
                  </a:moveTo>
                  <a:cubicBezTo>
                    <a:pt x="184" y="1"/>
                    <a:pt x="182" y="1"/>
                    <a:pt x="177" y="1"/>
                  </a:cubicBezTo>
                  <a:cubicBezTo>
                    <a:pt x="172" y="1"/>
                    <a:pt x="165" y="2"/>
                    <a:pt x="157" y="2"/>
                  </a:cubicBezTo>
                  <a:cubicBezTo>
                    <a:pt x="140" y="3"/>
                    <a:pt x="117" y="4"/>
                    <a:pt x="92" y="7"/>
                  </a:cubicBezTo>
                  <a:cubicBezTo>
                    <a:pt x="66" y="10"/>
                    <a:pt x="44" y="14"/>
                    <a:pt x="27" y="17"/>
                  </a:cubicBezTo>
                  <a:cubicBezTo>
                    <a:pt x="19" y="19"/>
                    <a:pt x="12" y="20"/>
                    <a:pt x="8" y="21"/>
                  </a:cubicBezTo>
                  <a:cubicBezTo>
                    <a:pt x="3" y="22"/>
                    <a:pt x="0" y="23"/>
                    <a:pt x="0" y="22"/>
                  </a:cubicBezTo>
                  <a:cubicBezTo>
                    <a:pt x="0" y="22"/>
                    <a:pt x="3" y="21"/>
                    <a:pt x="7" y="20"/>
                  </a:cubicBezTo>
                  <a:cubicBezTo>
                    <a:pt x="12" y="19"/>
                    <a:pt x="18" y="17"/>
                    <a:pt x="27" y="15"/>
                  </a:cubicBezTo>
                  <a:cubicBezTo>
                    <a:pt x="43" y="12"/>
                    <a:pt x="66" y="8"/>
                    <a:pt x="91" y="5"/>
                  </a:cubicBezTo>
                  <a:cubicBezTo>
                    <a:pt x="117" y="2"/>
                    <a:pt x="140" y="0"/>
                    <a:pt x="157" y="0"/>
                  </a:cubicBezTo>
                  <a:cubicBezTo>
                    <a:pt x="165" y="0"/>
                    <a:pt x="172" y="0"/>
                    <a:pt x="177" y="0"/>
                  </a:cubicBezTo>
                  <a:cubicBezTo>
                    <a:pt x="182" y="1"/>
                    <a:pt x="184" y="1"/>
                    <a:pt x="184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0C8979AA-FD12-433B-84CB-4016C6417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6" y="2369"/>
              <a:ext cx="181" cy="565"/>
            </a:xfrm>
            <a:custGeom>
              <a:avLst/>
              <a:gdLst>
                <a:gd name="T0" fmla="*/ 75 w 76"/>
                <a:gd name="T1" fmla="*/ 238 h 238"/>
                <a:gd name="T2" fmla="*/ 74 w 76"/>
                <a:gd name="T3" fmla="*/ 235 h 238"/>
                <a:gd name="T4" fmla="*/ 72 w 76"/>
                <a:gd name="T5" fmla="*/ 229 h 238"/>
                <a:gd name="T6" fmla="*/ 63 w 76"/>
                <a:gd name="T7" fmla="*/ 203 h 238"/>
                <a:gd name="T8" fmla="*/ 36 w 76"/>
                <a:gd name="T9" fmla="*/ 119 h 238"/>
                <a:gd name="T10" fmla="*/ 11 w 76"/>
                <a:gd name="T11" fmla="*/ 35 h 238"/>
                <a:gd name="T12" fmla="*/ 3 w 76"/>
                <a:gd name="T13" fmla="*/ 9 h 238"/>
                <a:gd name="T14" fmla="*/ 1 w 76"/>
                <a:gd name="T15" fmla="*/ 2 h 238"/>
                <a:gd name="T16" fmla="*/ 0 w 76"/>
                <a:gd name="T17" fmla="*/ 0 h 238"/>
                <a:gd name="T18" fmla="*/ 1 w 76"/>
                <a:gd name="T19" fmla="*/ 2 h 238"/>
                <a:gd name="T20" fmla="*/ 4 w 76"/>
                <a:gd name="T21" fmla="*/ 9 h 238"/>
                <a:gd name="T22" fmla="*/ 13 w 76"/>
                <a:gd name="T23" fmla="*/ 34 h 238"/>
                <a:gd name="T24" fmla="*/ 39 w 76"/>
                <a:gd name="T25" fmla="*/ 118 h 238"/>
                <a:gd name="T26" fmla="*/ 64 w 76"/>
                <a:gd name="T27" fmla="*/ 203 h 238"/>
                <a:gd name="T28" fmla="*/ 73 w 76"/>
                <a:gd name="T29" fmla="*/ 228 h 238"/>
                <a:gd name="T30" fmla="*/ 75 w 76"/>
                <a:gd name="T31" fmla="*/ 235 h 238"/>
                <a:gd name="T32" fmla="*/ 75 w 76"/>
                <a:gd name="T3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238">
                  <a:moveTo>
                    <a:pt x="75" y="238"/>
                  </a:moveTo>
                  <a:cubicBezTo>
                    <a:pt x="75" y="238"/>
                    <a:pt x="75" y="237"/>
                    <a:pt x="74" y="235"/>
                  </a:cubicBezTo>
                  <a:cubicBezTo>
                    <a:pt x="74" y="234"/>
                    <a:pt x="73" y="231"/>
                    <a:pt x="72" y="229"/>
                  </a:cubicBezTo>
                  <a:cubicBezTo>
                    <a:pt x="69" y="223"/>
                    <a:pt x="66" y="214"/>
                    <a:pt x="63" y="203"/>
                  </a:cubicBezTo>
                  <a:cubicBezTo>
                    <a:pt x="55" y="182"/>
                    <a:pt x="46" y="152"/>
                    <a:pt x="36" y="119"/>
                  </a:cubicBezTo>
                  <a:cubicBezTo>
                    <a:pt x="27" y="86"/>
                    <a:pt x="18" y="56"/>
                    <a:pt x="11" y="35"/>
                  </a:cubicBezTo>
                  <a:cubicBezTo>
                    <a:pt x="8" y="24"/>
                    <a:pt x="5" y="15"/>
                    <a:pt x="3" y="9"/>
                  </a:cubicBezTo>
                  <a:cubicBezTo>
                    <a:pt x="2" y="6"/>
                    <a:pt x="1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2" y="4"/>
                    <a:pt x="3" y="6"/>
                    <a:pt x="4" y="9"/>
                  </a:cubicBezTo>
                  <a:cubicBezTo>
                    <a:pt x="6" y="15"/>
                    <a:pt x="9" y="23"/>
                    <a:pt x="13" y="34"/>
                  </a:cubicBezTo>
                  <a:cubicBezTo>
                    <a:pt x="20" y="55"/>
                    <a:pt x="29" y="85"/>
                    <a:pt x="39" y="118"/>
                  </a:cubicBezTo>
                  <a:cubicBezTo>
                    <a:pt x="49" y="151"/>
                    <a:pt x="58" y="181"/>
                    <a:pt x="64" y="203"/>
                  </a:cubicBezTo>
                  <a:cubicBezTo>
                    <a:pt x="68" y="213"/>
                    <a:pt x="71" y="222"/>
                    <a:pt x="73" y="228"/>
                  </a:cubicBezTo>
                  <a:cubicBezTo>
                    <a:pt x="74" y="231"/>
                    <a:pt x="74" y="233"/>
                    <a:pt x="75" y="235"/>
                  </a:cubicBezTo>
                  <a:cubicBezTo>
                    <a:pt x="75" y="237"/>
                    <a:pt x="76" y="238"/>
                    <a:pt x="75" y="2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3E4E04C4-78C9-480E-B974-71CA61553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4" y="2787"/>
              <a:ext cx="587" cy="147"/>
            </a:xfrm>
            <a:custGeom>
              <a:avLst/>
              <a:gdLst>
                <a:gd name="T0" fmla="*/ 247 w 247"/>
                <a:gd name="T1" fmla="*/ 1 h 62"/>
                <a:gd name="T2" fmla="*/ 245 w 247"/>
                <a:gd name="T3" fmla="*/ 1 h 62"/>
                <a:gd name="T4" fmla="*/ 237 w 247"/>
                <a:gd name="T5" fmla="*/ 3 h 62"/>
                <a:gd name="T6" fmla="*/ 211 w 247"/>
                <a:gd name="T7" fmla="*/ 10 h 62"/>
                <a:gd name="T8" fmla="*/ 124 w 247"/>
                <a:gd name="T9" fmla="*/ 32 h 62"/>
                <a:gd name="T10" fmla="*/ 37 w 247"/>
                <a:gd name="T11" fmla="*/ 54 h 62"/>
                <a:gd name="T12" fmla="*/ 10 w 247"/>
                <a:gd name="T13" fmla="*/ 60 h 62"/>
                <a:gd name="T14" fmla="*/ 3 w 247"/>
                <a:gd name="T15" fmla="*/ 61 h 62"/>
                <a:gd name="T16" fmla="*/ 0 w 247"/>
                <a:gd name="T17" fmla="*/ 62 h 62"/>
                <a:gd name="T18" fmla="*/ 3 w 247"/>
                <a:gd name="T19" fmla="*/ 61 h 62"/>
                <a:gd name="T20" fmla="*/ 10 w 247"/>
                <a:gd name="T21" fmla="*/ 59 h 62"/>
                <a:gd name="T22" fmla="*/ 36 w 247"/>
                <a:gd name="T23" fmla="*/ 52 h 62"/>
                <a:gd name="T24" fmla="*/ 123 w 247"/>
                <a:gd name="T25" fmla="*/ 30 h 62"/>
                <a:gd name="T26" fmla="*/ 211 w 247"/>
                <a:gd name="T27" fmla="*/ 8 h 62"/>
                <a:gd name="T28" fmla="*/ 237 w 247"/>
                <a:gd name="T29" fmla="*/ 2 h 62"/>
                <a:gd name="T30" fmla="*/ 244 w 247"/>
                <a:gd name="T31" fmla="*/ 1 h 62"/>
                <a:gd name="T32" fmla="*/ 247 w 247"/>
                <a:gd name="T3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7" h="62">
                  <a:moveTo>
                    <a:pt x="247" y="1"/>
                  </a:moveTo>
                  <a:cubicBezTo>
                    <a:pt x="247" y="1"/>
                    <a:pt x="246" y="1"/>
                    <a:pt x="245" y="1"/>
                  </a:cubicBezTo>
                  <a:cubicBezTo>
                    <a:pt x="243" y="2"/>
                    <a:pt x="240" y="2"/>
                    <a:pt x="237" y="3"/>
                  </a:cubicBezTo>
                  <a:cubicBezTo>
                    <a:pt x="231" y="5"/>
                    <a:pt x="222" y="7"/>
                    <a:pt x="211" y="10"/>
                  </a:cubicBezTo>
                  <a:cubicBezTo>
                    <a:pt x="189" y="15"/>
                    <a:pt x="158" y="23"/>
                    <a:pt x="124" y="32"/>
                  </a:cubicBezTo>
                  <a:cubicBezTo>
                    <a:pt x="90" y="41"/>
                    <a:pt x="59" y="49"/>
                    <a:pt x="37" y="54"/>
                  </a:cubicBezTo>
                  <a:cubicBezTo>
                    <a:pt x="26" y="57"/>
                    <a:pt x="17" y="59"/>
                    <a:pt x="10" y="60"/>
                  </a:cubicBezTo>
                  <a:cubicBezTo>
                    <a:pt x="7" y="61"/>
                    <a:pt x="5" y="61"/>
                    <a:pt x="3" y="61"/>
                  </a:cubicBezTo>
                  <a:cubicBezTo>
                    <a:pt x="1" y="62"/>
                    <a:pt x="0" y="62"/>
                    <a:pt x="0" y="62"/>
                  </a:cubicBezTo>
                  <a:cubicBezTo>
                    <a:pt x="0" y="62"/>
                    <a:pt x="1" y="61"/>
                    <a:pt x="3" y="61"/>
                  </a:cubicBezTo>
                  <a:cubicBezTo>
                    <a:pt x="5" y="60"/>
                    <a:pt x="7" y="60"/>
                    <a:pt x="10" y="59"/>
                  </a:cubicBezTo>
                  <a:cubicBezTo>
                    <a:pt x="17" y="57"/>
                    <a:pt x="26" y="55"/>
                    <a:pt x="36" y="52"/>
                  </a:cubicBezTo>
                  <a:cubicBezTo>
                    <a:pt x="59" y="47"/>
                    <a:pt x="89" y="39"/>
                    <a:pt x="123" y="30"/>
                  </a:cubicBezTo>
                  <a:cubicBezTo>
                    <a:pt x="157" y="21"/>
                    <a:pt x="188" y="13"/>
                    <a:pt x="211" y="8"/>
                  </a:cubicBezTo>
                  <a:cubicBezTo>
                    <a:pt x="222" y="5"/>
                    <a:pt x="231" y="3"/>
                    <a:pt x="237" y="2"/>
                  </a:cubicBezTo>
                  <a:cubicBezTo>
                    <a:pt x="240" y="2"/>
                    <a:pt x="242" y="1"/>
                    <a:pt x="244" y="1"/>
                  </a:cubicBezTo>
                  <a:cubicBezTo>
                    <a:pt x="246" y="1"/>
                    <a:pt x="247" y="0"/>
                    <a:pt x="247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9" name="Rectangle 52">
              <a:extLst>
                <a:ext uri="{FF2B5EF4-FFF2-40B4-BE49-F238E27FC236}">
                  <a16:creationId xmlns:a16="http://schemas.microsoft.com/office/drawing/2014/main" id="{9309315A-1766-4E98-A6AD-15DE80685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3" y="443"/>
              <a:ext cx="2305" cy="3156"/>
            </a:xfrm>
            <a:prstGeom prst="rect">
              <a:avLst/>
            </a:pr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0" name="Rectangle 53">
              <a:extLst>
                <a:ext uri="{FF2B5EF4-FFF2-40B4-BE49-F238E27FC236}">
                  <a16:creationId xmlns:a16="http://schemas.microsoft.com/office/drawing/2014/main" id="{2070C110-DDE4-4337-A714-C70EA3B62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3" y="443"/>
              <a:ext cx="2305" cy="31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0C7F9D16-484C-4548-B0C4-C59FCA26F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" y="569"/>
              <a:ext cx="2021" cy="2842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1AA3188A-7D7E-4526-A0F0-A712E788E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" y="569"/>
              <a:ext cx="2021" cy="2842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A75AF87E-DDC6-4DBB-AFCB-3C959979D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531"/>
              <a:ext cx="2004" cy="2828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A675DD38-6A51-4F14-85D3-C250A7485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531"/>
              <a:ext cx="2004" cy="2828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9A8BABAD-D989-4475-BE97-F4053610F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5" y="538"/>
              <a:ext cx="2021" cy="2788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2055B7C5-92B2-415C-A28D-82D943E22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5" y="538"/>
              <a:ext cx="2021" cy="2788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06132D49-BAD8-4CA5-9DF1-8721C4FE7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536"/>
              <a:ext cx="2025" cy="2792"/>
            </a:xfrm>
            <a:custGeom>
              <a:avLst/>
              <a:gdLst>
                <a:gd name="T0" fmla="*/ 769 w 853"/>
                <a:gd name="T1" fmla="*/ 1096 h 1176"/>
                <a:gd name="T2" fmla="*/ 774 w 853"/>
                <a:gd name="T3" fmla="*/ 1092 h 1176"/>
                <a:gd name="T4" fmla="*/ 790 w 853"/>
                <a:gd name="T5" fmla="*/ 1079 h 1176"/>
                <a:gd name="T6" fmla="*/ 851 w 853"/>
                <a:gd name="T7" fmla="*/ 1029 h 1176"/>
                <a:gd name="T8" fmla="*/ 851 w 853"/>
                <a:gd name="T9" fmla="*/ 1029 h 1176"/>
                <a:gd name="T10" fmla="*/ 851 w 853"/>
                <a:gd name="T11" fmla="*/ 1 h 1176"/>
                <a:gd name="T12" fmla="*/ 852 w 853"/>
                <a:gd name="T13" fmla="*/ 2 h 1176"/>
                <a:gd name="T14" fmla="*/ 8 w 853"/>
                <a:gd name="T15" fmla="*/ 3 h 1176"/>
                <a:gd name="T16" fmla="*/ 1 w 853"/>
                <a:gd name="T17" fmla="*/ 3 h 1176"/>
                <a:gd name="T18" fmla="*/ 2 w 853"/>
                <a:gd name="T19" fmla="*/ 1 h 1176"/>
                <a:gd name="T20" fmla="*/ 2 w 853"/>
                <a:gd name="T21" fmla="*/ 1175 h 1176"/>
                <a:gd name="T22" fmla="*/ 1 w 853"/>
                <a:gd name="T23" fmla="*/ 1174 h 1176"/>
                <a:gd name="T24" fmla="*/ 672 w 853"/>
                <a:gd name="T25" fmla="*/ 1175 h 1176"/>
                <a:gd name="T26" fmla="*/ 672 w 853"/>
                <a:gd name="T27" fmla="*/ 1175 h 1176"/>
                <a:gd name="T28" fmla="*/ 745 w 853"/>
                <a:gd name="T29" fmla="*/ 1116 h 1176"/>
                <a:gd name="T30" fmla="*/ 763 w 853"/>
                <a:gd name="T31" fmla="*/ 1101 h 1176"/>
                <a:gd name="T32" fmla="*/ 769 w 853"/>
                <a:gd name="T33" fmla="*/ 1096 h 1176"/>
                <a:gd name="T34" fmla="*/ 763 w 853"/>
                <a:gd name="T35" fmla="*/ 1101 h 1176"/>
                <a:gd name="T36" fmla="*/ 745 w 853"/>
                <a:gd name="T37" fmla="*/ 1116 h 1176"/>
                <a:gd name="T38" fmla="*/ 672 w 853"/>
                <a:gd name="T39" fmla="*/ 1175 h 1176"/>
                <a:gd name="T40" fmla="*/ 672 w 853"/>
                <a:gd name="T41" fmla="*/ 1175 h 1176"/>
                <a:gd name="T42" fmla="*/ 672 w 853"/>
                <a:gd name="T43" fmla="*/ 1175 h 1176"/>
                <a:gd name="T44" fmla="*/ 1 w 853"/>
                <a:gd name="T45" fmla="*/ 1176 h 1176"/>
                <a:gd name="T46" fmla="*/ 0 w 853"/>
                <a:gd name="T47" fmla="*/ 1176 h 1176"/>
                <a:gd name="T48" fmla="*/ 0 w 853"/>
                <a:gd name="T49" fmla="*/ 1175 h 1176"/>
                <a:gd name="T50" fmla="*/ 0 w 853"/>
                <a:gd name="T51" fmla="*/ 1 h 1176"/>
                <a:gd name="T52" fmla="*/ 0 w 853"/>
                <a:gd name="T53" fmla="*/ 0 h 1176"/>
                <a:gd name="T54" fmla="*/ 1 w 853"/>
                <a:gd name="T55" fmla="*/ 0 h 1176"/>
                <a:gd name="T56" fmla="*/ 8 w 853"/>
                <a:gd name="T57" fmla="*/ 0 h 1176"/>
                <a:gd name="T58" fmla="*/ 852 w 853"/>
                <a:gd name="T59" fmla="*/ 1 h 1176"/>
                <a:gd name="T60" fmla="*/ 853 w 853"/>
                <a:gd name="T61" fmla="*/ 1 h 1176"/>
                <a:gd name="T62" fmla="*/ 853 w 853"/>
                <a:gd name="T63" fmla="*/ 1 h 1176"/>
                <a:gd name="T64" fmla="*/ 852 w 853"/>
                <a:gd name="T65" fmla="*/ 1029 h 1176"/>
                <a:gd name="T66" fmla="*/ 852 w 853"/>
                <a:gd name="T67" fmla="*/ 1029 h 1176"/>
                <a:gd name="T68" fmla="*/ 852 w 853"/>
                <a:gd name="T69" fmla="*/ 1029 h 1176"/>
                <a:gd name="T70" fmla="*/ 790 w 853"/>
                <a:gd name="T71" fmla="*/ 1079 h 1176"/>
                <a:gd name="T72" fmla="*/ 774 w 853"/>
                <a:gd name="T73" fmla="*/ 1092 h 1176"/>
                <a:gd name="T74" fmla="*/ 769 w 853"/>
                <a:gd name="T75" fmla="*/ 109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3" h="1176">
                  <a:moveTo>
                    <a:pt x="769" y="1096"/>
                  </a:moveTo>
                  <a:cubicBezTo>
                    <a:pt x="769" y="1096"/>
                    <a:pt x="771" y="1094"/>
                    <a:pt x="774" y="1092"/>
                  </a:cubicBezTo>
                  <a:cubicBezTo>
                    <a:pt x="778" y="1089"/>
                    <a:pt x="783" y="1084"/>
                    <a:pt x="790" y="1079"/>
                  </a:cubicBezTo>
                  <a:cubicBezTo>
                    <a:pt x="804" y="1068"/>
                    <a:pt x="824" y="1051"/>
                    <a:pt x="851" y="1029"/>
                  </a:cubicBezTo>
                  <a:cubicBezTo>
                    <a:pt x="851" y="1029"/>
                    <a:pt x="851" y="1029"/>
                    <a:pt x="851" y="1029"/>
                  </a:cubicBezTo>
                  <a:cubicBezTo>
                    <a:pt x="851" y="860"/>
                    <a:pt x="851" y="485"/>
                    <a:pt x="851" y="1"/>
                  </a:cubicBezTo>
                  <a:cubicBezTo>
                    <a:pt x="852" y="2"/>
                    <a:pt x="852" y="2"/>
                    <a:pt x="852" y="2"/>
                  </a:cubicBezTo>
                  <a:cubicBezTo>
                    <a:pt x="598" y="2"/>
                    <a:pt x="311" y="2"/>
                    <a:pt x="8" y="3"/>
                  </a:cubicBezTo>
                  <a:cubicBezTo>
                    <a:pt x="6" y="3"/>
                    <a:pt x="3" y="3"/>
                    <a:pt x="1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443"/>
                    <a:pt x="2" y="850"/>
                    <a:pt x="2" y="1175"/>
                  </a:cubicBezTo>
                  <a:cubicBezTo>
                    <a:pt x="1" y="1174"/>
                    <a:pt x="1" y="1174"/>
                    <a:pt x="1" y="1174"/>
                  </a:cubicBezTo>
                  <a:cubicBezTo>
                    <a:pt x="307" y="1174"/>
                    <a:pt x="543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704" y="1148"/>
                    <a:pt x="728" y="1129"/>
                    <a:pt x="745" y="1116"/>
                  </a:cubicBezTo>
                  <a:cubicBezTo>
                    <a:pt x="753" y="1109"/>
                    <a:pt x="759" y="1104"/>
                    <a:pt x="763" y="1101"/>
                  </a:cubicBezTo>
                  <a:cubicBezTo>
                    <a:pt x="767" y="1097"/>
                    <a:pt x="769" y="1096"/>
                    <a:pt x="769" y="1096"/>
                  </a:cubicBezTo>
                  <a:cubicBezTo>
                    <a:pt x="769" y="1096"/>
                    <a:pt x="767" y="1098"/>
                    <a:pt x="763" y="1101"/>
                  </a:cubicBezTo>
                  <a:cubicBezTo>
                    <a:pt x="759" y="1104"/>
                    <a:pt x="753" y="1109"/>
                    <a:pt x="745" y="1116"/>
                  </a:cubicBezTo>
                  <a:cubicBezTo>
                    <a:pt x="729" y="1129"/>
                    <a:pt x="705" y="1149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543" y="1175"/>
                    <a:pt x="307" y="1176"/>
                    <a:pt x="1" y="1176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0" y="1175"/>
                    <a:pt x="0" y="1175"/>
                    <a:pt x="0" y="1175"/>
                  </a:cubicBezTo>
                  <a:cubicBezTo>
                    <a:pt x="0" y="850"/>
                    <a:pt x="0" y="44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311" y="0"/>
                    <a:pt x="598" y="0"/>
                    <a:pt x="852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2" y="485"/>
                    <a:pt x="852" y="860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25" y="1051"/>
                    <a:pt x="804" y="1068"/>
                    <a:pt x="790" y="1079"/>
                  </a:cubicBezTo>
                  <a:cubicBezTo>
                    <a:pt x="783" y="1085"/>
                    <a:pt x="778" y="1089"/>
                    <a:pt x="774" y="1092"/>
                  </a:cubicBezTo>
                  <a:cubicBezTo>
                    <a:pt x="771" y="1095"/>
                    <a:pt x="769" y="1096"/>
                    <a:pt x="769" y="109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487C4275-9FDC-4E57-B483-66B281C97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1" y="344"/>
              <a:ext cx="829" cy="285"/>
            </a:xfrm>
            <a:custGeom>
              <a:avLst/>
              <a:gdLst>
                <a:gd name="T0" fmla="*/ 349 w 349"/>
                <a:gd name="T1" fmla="*/ 120 h 120"/>
                <a:gd name="T2" fmla="*/ 0 w 349"/>
                <a:gd name="T3" fmla="*/ 120 h 120"/>
                <a:gd name="T4" fmla="*/ 0 w 349"/>
                <a:gd name="T5" fmla="*/ 59 h 120"/>
                <a:gd name="T6" fmla="*/ 59 w 349"/>
                <a:gd name="T7" fmla="*/ 0 h 120"/>
                <a:gd name="T8" fmla="*/ 292 w 349"/>
                <a:gd name="T9" fmla="*/ 0 h 120"/>
                <a:gd name="T10" fmla="*/ 349 w 349"/>
                <a:gd name="T11" fmla="*/ 57 h 120"/>
                <a:gd name="T12" fmla="*/ 349 w 349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120">
                  <a:moveTo>
                    <a:pt x="34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323" y="0"/>
                    <a:pt x="349" y="26"/>
                    <a:pt x="349" y="57"/>
                  </a:cubicBezTo>
                  <a:cubicBezTo>
                    <a:pt x="349" y="120"/>
                    <a:pt x="349" y="120"/>
                    <a:pt x="349" y="12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C1C6C86B-419E-4214-B1B5-BE9FD6AC6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" y="192"/>
              <a:ext cx="475" cy="152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C0DCAFE3-1024-4A4E-92A3-D9CD722E5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" y="192"/>
              <a:ext cx="475" cy="152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4B6F51E0-3476-41A9-B703-045D5900F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982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2" name="Oval 65">
              <a:extLst>
                <a:ext uri="{FF2B5EF4-FFF2-40B4-BE49-F238E27FC236}">
                  <a16:creationId xmlns:a16="http://schemas.microsoft.com/office/drawing/2014/main" id="{7FA32C28-95CD-4AC4-AB69-B52985EB1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063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3" name="Oval 66">
              <a:extLst>
                <a:ext uri="{FF2B5EF4-FFF2-40B4-BE49-F238E27FC236}">
                  <a16:creationId xmlns:a16="http://schemas.microsoft.com/office/drawing/2014/main" id="{5E6F3B58-3E31-42AD-83A5-9597380A1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134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4" name="Oval 67">
              <a:extLst>
                <a:ext uri="{FF2B5EF4-FFF2-40B4-BE49-F238E27FC236}">
                  <a16:creationId xmlns:a16="http://schemas.microsoft.com/office/drawing/2014/main" id="{34EF1354-3C3D-40EA-87C6-EBBB7BE25A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206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5" name="Oval 68">
              <a:extLst>
                <a:ext uri="{FF2B5EF4-FFF2-40B4-BE49-F238E27FC236}">
                  <a16:creationId xmlns:a16="http://schemas.microsoft.com/office/drawing/2014/main" id="{7F297B4E-C8CE-4D5A-88D1-4DE9800EC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275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A80AADAD-D026-48A5-B2ED-AC9CC486E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1507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6258AA04-695C-42A6-9977-68B6F6018A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1507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43E12745-1BF0-456F-96FC-293DE8FBC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" y="1529"/>
              <a:ext cx="335" cy="263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9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49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9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49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9" name="Oval 72">
              <a:extLst>
                <a:ext uri="{FF2B5EF4-FFF2-40B4-BE49-F238E27FC236}">
                  <a16:creationId xmlns:a16="http://schemas.microsoft.com/office/drawing/2014/main" id="{4B8F002C-35B6-4656-80CE-B255CAC7D1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58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0" name="Oval 73">
              <a:extLst>
                <a:ext uri="{FF2B5EF4-FFF2-40B4-BE49-F238E27FC236}">
                  <a16:creationId xmlns:a16="http://schemas.microsoft.com/office/drawing/2014/main" id="{A9929677-0547-455A-89AD-A751244146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659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1" name="Oval 74">
              <a:extLst>
                <a:ext uri="{FF2B5EF4-FFF2-40B4-BE49-F238E27FC236}">
                  <a16:creationId xmlns:a16="http://schemas.microsoft.com/office/drawing/2014/main" id="{8829B333-31F2-415B-B6ED-7561B5DCB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730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2" name="Oval 75">
              <a:extLst>
                <a:ext uri="{FF2B5EF4-FFF2-40B4-BE49-F238E27FC236}">
                  <a16:creationId xmlns:a16="http://schemas.microsoft.com/office/drawing/2014/main" id="{09F7A0E6-BB35-4883-9EAF-AD540F313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799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D065A7A7-7F08-48F0-B54E-287DD9910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2015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72772520-3323-43F2-B449-809C387CE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" y="2037"/>
              <a:ext cx="335" cy="263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7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50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7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5" name="Oval 78">
              <a:extLst>
                <a:ext uri="{FF2B5EF4-FFF2-40B4-BE49-F238E27FC236}">
                  <a16:creationId xmlns:a16="http://schemas.microsoft.com/office/drawing/2014/main" id="{BD1B889B-2AE6-4F14-9D5B-B37BD4C2F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09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6" name="Oval 79">
              <a:extLst>
                <a:ext uri="{FF2B5EF4-FFF2-40B4-BE49-F238E27FC236}">
                  <a16:creationId xmlns:a16="http://schemas.microsoft.com/office/drawing/2014/main" id="{91874A70-776F-4879-9652-4C277D2B67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167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7" name="Oval 80">
              <a:extLst>
                <a:ext uri="{FF2B5EF4-FFF2-40B4-BE49-F238E27FC236}">
                  <a16:creationId xmlns:a16="http://schemas.microsoft.com/office/drawing/2014/main" id="{C71A60DE-0C1C-4357-A5E1-1CCEF2980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23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8" name="Oval 81">
              <a:extLst>
                <a:ext uri="{FF2B5EF4-FFF2-40B4-BE49-F238E27FC236}">
                  <a16:creationId xmlns:a16="http://schemas.microsoft.com/office/drawing/2014/main" id="{89B6ADEF-CC97-4A83-8A87-FE1CF9A427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307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FE7EACCD-A53D-48EF-BA76-E53F208563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2507"/>
              <a:ext cx="340" cy="339"/>
            </a:xfrm>
            <a:custGeom>
              <a:avLst/>
              <a:gdLst>
                <a:gd name="T0" fmla="*/ 340 w 340"/>
                <a:gd name="T1" fmla="*/ 339 h 339"/>
                <a:gd name="T2" fmla="*/ 0 w 340"/>
                <a:gd name="T3" fmla="*/ 339 h 339"/>
                <a:gd name="T4" fmla="*/ 0 w 340"/>
                <a:gd name="T5" fmla="*/ 0 h 339"/>
                <a:gd name="T6" fmla="*/ 340 w 340"/>
                <a:gd name="T7" fmla="*/ 0 h 339"/>
                <a:gd name="T8" fmla="*/ 340 w 340"/>
                <a:gd name="T9" fmla="*/ 339 h 339"/>
                <a:gd name="T10" fmla="*/ 10 w 340"/>
                <a:gd name="T11" fmla="*/ 330 h 339"/>
                <a:gd name="T12" fmla="*/ 330 w 340"/>
                <a:gd name="T13" fmla="*/ 330 h 339"/>
                <a:gd name="T14" fmla="*/ 330 w 340"/>
                <a:gd name="T15" fmla="*/ 9 h 339"/>
                <a:gd name="T16" fmla="*/ 10 w 340"/>
                <a:gd name="T17" fmla="*/ 9 h 339"/>
                <a:gd name="T18" fmla="*/ 10 w 340"/>
                <a:gd name="T19" fmla="*/ 33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39">
                  <a:moveTo>
                    <a:pt x="340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39"/>
                  </a:lnTo>
                  <a:close/>
                  <a:moveTo>
                    <a:pt x="10" y="330"/>
                  </a:moveTo>
                  <a:lnTo>
                    <a:pt x="330" y="330"/>
                  </a:lnTo>
                  <a:lnTo>
                    <a:pt x="330" y="9"/>
                  </a:lnTo>
                  <a:lnTo>
                    <a:pt x="10" y="9"/>
                  </a:lnTo>
                  <a:lnTo>
                    <a:pt x="10" y="33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B6F8E206-7620-46E3-B063-113F2C029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" y="2528"/>
              <a:ext cx="335" cy="261"/>
            </a:xfrm>
            <a:custGeom>
              <a:avLst/>
              <a:gdLst>
                <a:gd name="T0" fmla="*/ 0 w 335"/>
                <a:gd name="T1" fmla="*/ 155 h 261"/>
                <a:gd name="T2" fmla="*/ 45 w 335"/>
                <a:gd name="T3" fmla="*/ 107 h 261"/>
                <a:gd name="T4" fmla="*/ 121 w 335"/>
                <a:gd name="T5" fmla="*/ 166 h 261"/>
                <a:gd name="T6" fmla="*/ 294 w 335"/>
                <a:gd name="T7" fmla="*/ 0 h 261"/>
                <a:gd name="T8" fmla="*/ 335 w 335"/>
                <a:gd name="T9" fmla="*/ 48 h 261"/>
                <a:gd name="T10" fmla="*/ 119 w 335"/>
                <a:gd name="T11" fmla="*/ 261 h 261"/>
                <a:gd name="T12" fmla="*/ 0 w 335"/>
                <a:gd name="T13" fmla="*/ 15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1">
                  <a:moveTo>
                    <a:pt x="0" y="155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4" y="0"/>
                  </a:lnTo>
                  <a:lnTo>
                    <a:pt x="335" y="48"/>
                  </a:lnTo>
                  <a:lnTo>
                    <a:pt x="119" y="26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1" name="Oval 84">
              <a:extLst>
                <a:ext uri="{FF2B5EF4-FFF2-40B4-BE49-F238E27FC236}">
                  <a16:creationId xmlns:a16="http://schemas.microsoft.com/office/drawing/2014/main" id="{4D26A191-1D86-46E5-9BE5-70A5D3B189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585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2" name="Oval 85">
              <a:extLst>
                <a:ext uri="{FF2B5EF4-FFF2-40B4-BE49-F238E27FC236}">
                  <a16:creationId xmlns:a16="http://schemas.microsoft.com/office/drawing/2014/main" id="{7DE87F1F-1213-41F0-BAB7-A14D6D1A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65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3" name="Oval 86">
              <a:extLst>
                <a:ext uri="{FF2B5EF4-FFF2-40B4-BE49-F238E27FC236}">
                  <a16:creationId xmlns:a16="http://schemas.microsoft.com/office/drawing/2014/main" id="{A8CA3A37-6143-4681-95BA-9F608A51F7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728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4" name="Oval 87">
              <a:extLst>
                <a:ext uri="{FF2B5EF4-FFF2-40B4-BE49-F238E27FC236}">
                  <a16:creationId xmlns:a16="http://schemas.microsoft.com/office/drawing/2014/main" id="{3053C038-8244-4120-85A5-85245C03FE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799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75955E9D-5733-4A5C-8077-940B94211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" y="2865"/>
              <a:ext cx="224" cy="459"/>
            </a:xfrm>
            <a:custGeom>
              <a:avLst/>
              <a:gdLst>
                <a:gd name="T0" fmla="*/ 224 w 224"/>
                <a:gd name="T1" fmla="*/ 0 h 459"/>
                <a:gd name="T2" fmla="*/ 0 w 224"/>
                <a:gd name="T3" fmla="*/ 459 h 459"/>
                <a:gd name="T4" fmla="*/ 159 w 224"/>
                <a:gd name="T5" fmla="*/ 459 h 459"/>
                <a:gd name="T6" fmla="*/ 224 w 224"/>
                <a:gd name="T7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459">
                  <a:moveTo>
                    <a:pt x="224" y="0"/>
                  </a:moveTo>
                  <a:lnTo>
                    <a:pt x="0" y="459"/>
                  </a:lnTo>
                  <a:lnTo>
                    <a:pt x="159" y="459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28936697-0851-484C-A7C8-5ADC5C237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8" y="2868"/>
              <a:ext cx="428" cy="458"/>
            </a:xfrm>
            <a:custGeom>
              <a:avLst/>
              <a:gdLst>
                <a:gd name="T0" fmla="*/ 0 w 428"/>
                <a:gd name="T1" fmla="*/ 458 h 458"/>
                <a:gd name="T2" fmla="*/ 65 w 428"/>
                <a:gd name="T3" fmla="*/ 0 h 458"/>
                <a:gd name="T4" fmla="*/ 428 w 428"/>
                <a:gd name="T5" fmla="*/ 111 h 458"/>
                <a:gd name="T6" fmla="*/ 0 w 428"/>
                <a:gd name="T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458">
                  <a:moveTo>
                    <a:pt x="0" y="458"/>
                  </a:moveTo>
                  <a:lnTo>
                    <a:pt x="65" y="0"/>
                  </a:lnTo>
                  <a:lnTo>
                    <a:pt x="428" y="111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B6E49750-A739-43F9-9254-15DA42A74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8" y="2863"/>
              <a:ext cx="433" cy="463"/>
            </a:xfrm>
            <a:custGeom>
              <a:avLst/>
              <a:gdLst>
                <a:gd name="T0" fmla="*/ 0 w 182"/>
                <a:gd name="T1" fmla="*/ 195 h 195"/>
                <a:gd name="T2" fmla="*/ 51 w 182"/>
                <a:gd name="T3" fmla="*/ 153 h 195"/>
                <a:gd name="T4" fmla="*/ 179 w 182"/>
                <a:gd name="T5" fmla="*/ 48 h 195"/>
                <a:gd name="T6" fmla="*/ 179 w 182"/>
                <a:gd name="T7" fmla="*/ 50 h 195"/>
                <a:gd name="T8" fmla="*/ 120 w 182"/>
                <a:gd name="T9" fmla="*/ 32 h 195"/>
                <a:gd name="T10" fmla="*/ 26 w 182"/>
                <a:gd name="T11" fmla="*/ 3 h 195"/>
                <a:gd name="T12" fmla="*/ 28 w 182"/>
                <a:gd name="T13" fmla="*/ 2 h 195"/>
                <a:gd name="T14" fmla="*/ 8 w 182"/>
                <a:gd name="T15" fmla="*/ 140 h 195"/>
                <a:gd name="T16" fmla="*/ 0 w 182"/>
                <a:gd name="T17" fmla="*/ 195 h 195"/>
                <a:gd name="T18" fmla="*/ 0 w 182"/>
                <a:gd name="T19" fmla="*/ 194 h 195"/>
                <a:gd name="T20" fmla="*/ 0 w 182"/>
                <a:gd name="T21" fmla="*/ 191 h 195"/>
                <a:gd name="T22" fmla="*/ 2 w 182"/>
                <a:gd name="T23" fmla="*/ 181 h 195"/>
                <a:gd name="T24" fmla="*/ 7 w 182"/>
                <a:gd name="T25" fmla="*/ 141 h 195"/>
                <a:gd name="T26" fmla="*/ 26 w 182"/>
                <a:gd name="T27" fmla="*/ 2 h 195"/>
                <a:gd name="T28" fmla="*/ 26 w 182"/>
                <a:gd name="T29" fmla="*/ 0 h 195"/>
                <a:gd name="T30" fmla="*/ 27 w 182"/>
                <a:gd name="T31" fmla="*/ 1 h 195"/>
                <a:gd name="T32" fmla="*/ 121 w 182"/>
                <a:gd name="T33" fmla="*/ 30 h 195"/>
                <a:gd name="T34" fmla="*/ 180 w 182"/>
                <a:gd name="T35" fmla="*/ 48 h 195"/>
                <a:gd name="T36" fmla="*/ 182 w 182"/>
                <a:gd name="T37" fmla="*/ 49 h 195"/>
                <a:gd name="T38" fmla="*/ 180 w 182"/>
                <a:gd name="T39" fmla="*/ 50 h 195"/>
                <a:gd name="T40" fmla="*/ 51 w 182"/>
                <a:gd name="T41" fmla="*/ 154 h 195"/>
                <a:gd name="T42" fmla="*/ 13 w 182"/>
                <a:gd name="T43" fmla="*/ 184 h 195"/>
                <a:gd name="T44" fmla="*/ 3 w 182"/>
                <a:gd name="T45" fmla="*/ 192 h 195"/>
                <a:gd name="T46" fmla="*/ 1 w 182"/>
                <a:gd name="T47" fmla="*/ 194 h 195"/>
                <a:gd name="T48" fmla="*/ 0 w 182"/>
                <a:gd name="T4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2" h="195">
                  <a:moveTo>
                    <a:pt x="0" y="195"/>
                  </a:moveTo>
                  <a:cubicBezTo>
                    <a:pt x="4" y="192"/>
                    <a:pt x="20" y="178"/>
                    <a:pt x="51" y="153"/>
                  </a:cubicBezTo>
                  <a:cubicBezTo>
                    <a:pt x="83" y="126"/>
                    <a:pt x="128" y="90"/>
                    <a:pt x="179" y="48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60" y="44"/>
                    <a:pt x="141" y="38"/>
                    <a:pt x="120" y="32"/>
                  </a:cubicBezTo>
                  <a:cubicBezTo>
                    <a:pt x="87" y="22"/>
                    <a:pt x="55" y="12"/>
                    <a:pt x="26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0" y="58"/>
                    <a:pt x="13" y="106"/>
                    <a:pt x="8" y="140"/>
                  </a:cubicBezTo>
                  <a:cubicBezTo>
                    <a:pt x="3" y="173"/>
                    <a:pt x="1" y="191"/>
                    <a:pt x="0" y="195"/>
                  </a:cubicBezTo>
                  <a:cubicBezTo>
                    <a:pt x="0" y="195"/>
                    <a:pt x="0" y="195"/>
                    <a:pt x="0" y="194"/>
                  </a:cubicBezTo>
                  <a:cubicBezTo>
                    <a:pt x="0" y="193"/>
                    <a:pt x="0" y="193"/>
                    <a:pt x="0" y="191"/>
                  </a:cubicBezTo>
                  <a:cubicBezTo>
                    <a:pt x="1" y="189"/>
                    <a:pt x="1" y="185"/>
                    <a:pt x="2" y="181"/>
                  </a:cubicBezTo>
                  <a:cubicBezTo>
                    <a:pt x="3" y="172"/>
                    <a:pt x="5" y="158"/>
                    <a:pt x="7" y="141"/>
                  </a:cubicBezTo>
                  <a:cubicBezTo>
                    <a:pt x="12" y="107"/>
                    <a:pt x="18" y="58"/>
                    <a:pt x="26" y="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56" y="10"/>
                    <a:pt x="88" y="20"/>
                    <a:pt x="121" y="30"/>
                  </a:cubicBezTo>
                  <a:cubicBezTo>
                    <a:pt x="141" y="36"/>
                    <a:pt x="161" y="42"/>
                    <a:pt x="180" y="48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29" y="91"/>
                    <a:pt x="84" y="128"/>
                    <a:pt x="51" y="154"/>
                  </a:cubicBezTo>
                  <a:cubicBezTo>
                    <a:pt x="35" y="167"/>
                    <a:pt x="22" y="177"/>
                    <a:pt x="13" y="184"/>
                  </a:cubicBezTo>
                  <a:cubicBezTo>
                    <a:pt x="9" y="188"/>
                    <a:pt x="6" y="190"/>
                    <a:pt x="3" y="192"/>
                  </a:cubicBezTo>
                  <a:cubicBezTo>
                    <a:pt x="2" y="193"/>
                    <a:pt x="1" y="194"/>
                    <a:pt x="1" y="194"/>
                  </a:cubicBezTo>
                  <a:cubicBezTo>
                    <a:pt x="0" y="195"/>
                    <a:pt x="0" y="195"/>
                    <a:pt x="0" y="1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5499F676-A774-42D6-AF54-46B8A2F74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2" y="192"/>
              <a:ext cx="57" cy="152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C16D8ED1-1957-403C-89B5-5B0AADD9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2" y="192"/>
              <a:ext cx="57" cy="152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D1C6CD41-BC40-4E2A-95FB-42E22B36B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1" y="1282"/>
              <a:ext cx="247" cy="527"/>
            </a:xfrm>
            <a:custGeom>
              <a:avLst/>
              <a:gdLst>
                <a:gd name="T0" fmla="*/ 30 w 104"/>
                <a:gd name="T1" fmla="*/ 220 h 222"/>
                <a:gd name="T2" fmla="*/ 69 w 104"/>
                <a:gd name="T3" fmla="*/ 186 h 222"/>
                <a:gd name="T4" fmla="*/ 70 w 104"/>
                <a:gd name="T5" fmla="*/ 146 h 222"/>
                <a:gd name="T6" fmla="*/ 102 w 104"/>
                <a:gd name="T7" fmla="*/ 114 h 222"/>
                <a:gd name="T8" fmla="*/ 103 w 104"/>
                <a:gd name="T9" fmla="*/ 17 h 222"/>
                <a:gd name="T10" fmla="*/ 0 w 104"/>
                <a:gd name="T11" fmla="*/ 24 h 222"/>
                <a:gd name="T12" fmla="*/ 2 w 104"/>
                <a:gd name="T13" fmla="*/ 127 h 222"/>
                <a:gd name="T14" fmla="*/ 2 w 104"/>
                <a:gd name="T15" fmla="*/ 183 h 222"/>
                <a:gd name="T16" fmla="*/ 30 w 104"/>
                <a:gd name="T17" fmla="*/ 22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222">
                  <a:moveTo>
                    <a:pt x="30" y="220"/>
                  </a:moveTo>
                  <a:cubicBezTo>
                    <a:pt x="51" y="222"/>
                    <a:pt x="68" y="206"/>
                    <a:pt x="69" y="186"/>
                  </a:cubicBezTo>
                  <a:cubicBezTo>
                    <a:pt x="70" y="166"/>
                    <a:pt x="70" y="146"/>
                    <a:pt x="70" y="146"/>
                  </a:cubicBezTo>
                  <a:cubicBezTo>
                    <a:pt x="70" y="146"/>
                    <a:pt x="100" y="144"/>
                    <a:pt x="102" y="114"/>
                  </a:cubicBezTo>
                  <a:cubicBezTo>
                    <a:pt x="104" y="85"/>
                    <a:pt x="103" y="17"/>
                    <a:pt x="103" y="17"/>
                  </a:cubicBezTo>
                  <a:cubicBezTo>
                    <a:pt x="70" y="0"/>
                    <a:pt x="31" y="3"/>
                    <a:pt x="0" y="24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2" y="201"/>
                    <a:pt x="12" y="219"/>
                    <a:pt x="30" y="220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64D87B4E-81C8-46BA-BD54-C325E1ACB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" y="1232"/>
              <a:ext cx="344" cy="420"/>
            </a:xfrm>
            <a:custGeom>
              <a:avLst/>
              <a:gdLst>
                <a:gd name="T0" fmla="*/ 89 w 145"/>
                <a:gd name="T1" fmla="*/ 99 h 177"/>
                <a:gd name="T2" fmla="*/ 69 w 145"/>
                <a:gd name="T3" fmla="*/ 95 h 177"/>
                <a:gd name="T4" fmla="*/ 63 w 145"/>
                <a:gd name="T5" fmla="*/ 116 h 177"/>
                <a:gd name="T6" fmla="*/ 78 w 145"/>
                <a:gd name="T7" fmla="*/ 127 h 177"/>
                <a:gd name="T8" fmla="*/ 86 w 145"/>
                <a:gd name="T9" fmla="*/ 139 h 177"/>
                <a:gd name="T10" fmla="*/ 76 w 145"/>
                <a:gd name="T11" fmla="*/ 160 h 177"/>
                <a:gd name="T12" fmla="*/ 42 w 145"/>
                <a:gd name="T13" fmla="*/ 176 h 177"/>
                <a:gd name="T14" fmla="*/ 8 w 145"/>
                <a:gd name="T15" fmla="*/ 165 h 177"/>
                <a:gd name="T16" fmla="*/ 2 w 145"/>
                <a:gd name="T17" fmla="*/ 138 h 177"/>
                <a:gd name="T18" fmla="*/ 1 w 145"/>
                <a:gd name="T19" fmla="*/ 73 h 177"/>
                <a:gd name="T20" fmla="*/ 2 w 145"/>
                <a:gd name="T21" fmla="*/ 50 h 177"/>
                <a:gd name="T22" fmla="*/ 15 w 145"/>
                <a:gd name="T23" fmla="*/ 31 h 177"/>
                <a:gd name="T24" fmla="*/ 39 w 145"/>
                <a:gd name="T25" fmla="*/ 23 h 177"/>
                <a:gd name="T26" fmla="*/ 67 w 145"/>
                <a:gd name="T27" fmla="*/ 8 h 177"/>
                <a:gd name="T28" fmla="*/ 98 w 145"/>
                <a:gd name="T29" fmla="*/ 5 h 177"/>
                <a:gd name="T30" fmla="*/ 116 w 145"/>
                <a:gd name="T31" fmla="*/ 19 h 177"/>
                <a:gd name="T32" fmla="*/ 143 w 145"/>
                <a:gd name="T33" fmla="*/ 37 h 177"/>
                <a:gd name="T34" fmla="*/ 143 w 145"/>
                <a:gd name="T35" fmla="*/ 52 h 177"/>
                <a:gd name="T36" fmla="*/ 96 w 145"/>
                <a:gd name="T37" fmla="*/ 71 h 177"/>
                <a:gd name="T38" fmla="*/ 95 w 145"/>
                <a:gd name="T39" fmla="*/ 91 h 177"/>
                <a:gd name="T40" fmla="*/ 89 w 145"/>
                <a:gd name="T41" fmla="*/ 9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5" h="177">
                  <a:moveTo>
                    <a:pt x="89" y="99"/>
                  </a:moveTo>
                  <a:cubicBezTo>
                    <a:pt x="84" y="93"/>
                    <a:pt x="76" y="91"/>
                    <a:pt x="69" y="95"/>
                  </a:cubicBezTo>
                  <a:cubicBezTo>
                    <a:pt x="62" y="99"/>
                    <a:pt x="60" y="109"/>
                    <a:pt x="63" y="116"/>
                  </a:cubicBezTo>
                  <a:cubicBezTo>
                    <a:pt x="66" y="121"/>
                    <a:pt x="72" y="126"/>
                    <a:pt x="78" y="127"/>
                  </a:cubicBezTo>
                  <a:cubicBezTo>
                    <a:pt x="83" y="128"/>
                    <a:pt x="87" y="134"/>
                    <a:pt x="86" y="139"/>
                  </a:cubicBezTo>
                  <a:cubicBezTo>
                    <a:pt x="86" y="147"/>
                    <a:pt x="82" y="154"/>
                    <a:pt x="76" y="160"/>
                  </a:cubicBezTo>
                  <a:cubicBezTo>
                    <a:pt x="68" y="169"/>
                    <a:pt x="55" y="174"/>
                    <a:pt x="42" y="176"/>
                  </a:cubicBezTo>
                  <a:cubicBezTo>
                    <a:pt x="30" y="177"/>
                    <a:pt x="15" y="175"/>
                    <a:pt x="8" y="165"/>
                  </a:cubicBezTo>
                  <a:cubicBezTo>
                    <a:pt x="3" y="157"/>
                    <a:pt x="2" y="147"/>
                    <a:pt x="2" y="138"/>
                  </a:cubicBezTo>
                  <a:cubicBezTo>
                    <a:pt x="2" y="116"/>
                    <a:pt x="1" y="95"/>
                    <a:pt x="1" y="73"/>
                  </a:cubicBezTo>
                  <a:cubicBezTo>
                    <a:pt x="1" y="65"/>
                    <a:pt x="0" y="57"/>
                    <a:pt x="2" y="50"/>
                  </a:cubicBezTo>
                  <a:cubicBezTo>
                    <a:pt x="4" y="42"/>
                    <a:pt x="8" y="35"/>
                    <a:pt x="15" y="31"/>
                  </a:cubicBezTo>
                  <a:cubicBezTo>
                    <a:pt x="22" y="26"/>
                    <a:pt x="31" y="25"/>
                    <a:pt x="39" y="23"/>
                  </a:cubicBezTo>
                  <a:cubicBezTo>
                    <a:pt x="49" y="20"/>
                    <a:pt x="58" y="13"/>
                    <a:pt x="67" y="8"/>
                  </a:cubicBezTo>
                  <a:cubicBezTo>
                    <a:pt x="77" y="3"/>
                    <a:pt x="88" y="0"/>
                    <a:pt x="98" y="5"/>
                  </a:cubicBezTo>
                  <a:cubicBezTo>
                    <a:pt x="105" y="8"/>
                    <a:pt x="109" y="15"/>
                    <a:pt x="116" y="19"/>
                  </a:cubicBezTo>
                  <a:cubicBezTo>
                    <a:pt x="126" y="24"/>
                    <a:pt x="139" y="23"/>
                    <a:pt x="143" y="37"/>
                  </a:cubicBezTo>
                  <a:cubicBezTo>
                    <a:pt x="145" y="42"/>
                    <a:pt x="145" y="47"/>
                    <a:pt x="143" y="52"/>
                  </a:cubicBezTo>
                  <a:cubicBezTo>
                    <a:pt x="137" y="71"/>
                    <a:pt x="113" y="79"/>
                    <a:pt x="96" y="71"/>
                  </a:cubicBezTo>
                  <a:cubicBezTo>
                    <a:pt x="96" y="74"/>
                    <a:pt x="99" y="81"/>
                    <a:pt x="95" y="91"/>
                  </a:cubicBezTo>
                  <a:cubicBezTo>
                    <a:pt x="94" y="94"/>
                    <a:pt x="94" y="99"/>
                    <a:pt x="89" y="9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3464CC7-2111-4C7F-9EC7-8824A2897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9" y="1170"/>
              <a:ext cx="147" cy="166"/>
            </a:xfrm>
            <a:custGeom>
              <a:avLst/>
              <a:gdLst>
                <a:gd name="T0" fmla="*/ 52 w 62"/>
                <a:gd name="T1" fmla="*/ 65 h 70"/>
                <a:gd name="T2" fmla="*/ 61 w 62"/>
                <a:gd name="T3" fmla="*/ 35 h 70"/>
                <a:gd name="T4" fmla="*/ 52 w 62"/>
                <a:gd name="T5" fmla="*/ 7 h 70"/>
                <a:gd name="T6" fmla="*/ 33 w 62"/>
                <a:gd name="T7" fmla="*/ 0 h 70"/>
                <a:gd name="T8" fmla="*/ 3 w 62"/>
                <a:gd name="T9" fmla="*/ 23 h 70"/>
                <a:gd name="T10" fmla="*/ 15 w 62"/>
                <a:gd name="T11" fmla="*/ 60 h 70"/>
                <a:gd name="T12" fmla="*/ 53 w 62"/>
                <a:gd name="T13" fmla="*/ 6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70">
                  <a:moveTo>
                    <a:pt x="52" y="65"/>
                  </a:moveTo>
                  <a:cubicBezTo>
                    <a:pt x="56" y="55"/>
                    <a:pt x="60" y="46"/>
                    <a:pt x="61" y="35"/>
                  </a:cubicBezTo>
                  <a:cubicBezTo>
                    <a:pt x="62" y="25"/>
                    <a:pt x="60" y="14"/>
                    <a:pt x="52" y="7"/>
                  </a:cubicBezTo>
                  <a:cubicBezTo>
                    <a:pt x="47" y="2"/>
                    <a:pt x="40" y="0"/>
                    <a:pt x="33" y="0"/>
                  </a:cubicBezTo>
                  <a:cubicBezTo>
                    <a:pt x="19" y="0"/>
                    <a:pt x="7" y="10"/>
                    <a:pt x="3" y="23"/>
                  </a:cubicBezTo>
                  <a:cubicBezTo>
                    <a:pt x="0" y="36"/>
                    <a:pt x="5" y="51"/>
                    <a:pt x="15" y="60"/>
                  </a:cubicBezTo>
                  <a:cubicBezTo>
                    <a:pt x="26" y="68"/>
                    <a:pt x="41" y="70"/>
                    <a:pt x="53" y="6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86153CDE-F596-4B5F-B8D4-A41DD6C81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" y="1298"/>
              <a:ext cx="33" cy="34"/>
            </a:xfrm>
            <a:custGeom>
              <a:avLst/>
              <a:gdLst>
                <a:gd name="T0" fmla="*/ 14 w 14"/>
                <a:gd name="T1" fmla="*/ 0 h 14"/>
                <a:gd name="T2" fmla="*/ 9 w 14"/>
                <a:gd name="T3" fmla="*/ 10 h 14"/>
                <a:gd name="T4" fmla="*/ 0 w 14"/>
                <a:gd name="T5" fmla="*/ 14 h 14"/>
                <a:gd name="T6" fmla="*/ 8 w 14"/>
                <a:gd name="T7" fmla="*/ 8 h 14"/>
                <a:gd name="T8" fmla="*/ 14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4" y="0"/>
                    <a:pt x="14" y="5"/>
                    <a:pt x="9" y="10"/>
                  </a:cubicBezTo>
                  <a:cubicBezTo>
                    <a:pt x="5" y="14"/>
                    <a:pt x="0" y="14"/>
                    <a:pt x="0" y="14"/>
                  </a:cubicBezTo>
                  <a:cubicBezTo>
                    <a:pt x="0" y="13"/>
                    <a:pt x="4" y="12"/>
                    <a:pt x="8" y="8"/>
                  </a:cubicBezTo>
                  <a:cubicBezTo>
                    <a:pt x="12" y="4"/>
                    <a:pt x="13" y="0"/>
                    <a:pt x="14" y="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2B257057-C38C-4C47-A6BC-72B3B101B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" y="1253"/>
              <a:ext cx="81" cy="83"/>
            </a:xfrm>
            <a:custGeom>
              <a:avLst/>
              <a:gdLst>
                <a:gd name="T0" fmla="*/ 34 w 34"/>
                <a:gd name="T1" fmla="*/ 26 h 35"/>
                <a:gd name="T2" fmla="*/ 26 w 34"/>
                <a:gd name="T3" fmla="*/ 32 h 35"/>
                <a:gd name="T4" fmla="*/ 16 w 34"/>
                <a:gd name="T5" fmla="*/ 35 h 35"/>
                <a:gd name="T6" fmla="*/ 3 w 34"/>
                <a:gd name="T7" fmla="*/ 30 h 35"/>
                <a:gd name="T8" fmla="*/ 1 w 34"/>
                <a:gd name="T9" fmla="*/ 16 h 35"/>
                <a:gd name="T10" fmla="*/ 6 w 34"/>
                <a:gd name="T11" fmla="*/ 7 h 35"/>
                <a:gd name="T12" fmla="*/ 13 w 34"/>
                <a:gd name="T13" fmla="*/ 0 h 35"/>
                <a:gd name="T14" fmla="*/ 7 w 34"/>
                <a:gd name="T15" fmla="*/ 8 h 35"/>
                <a:gd name="T16" fmla="*/ 3 w 34"/>
                <a:gd name="T17" fmla="*/ 17 h 35"/>
                <a:gd name="T18" fmla="*/ 5 w 34"/>
                <a:gd name="T19" fmla="*/ 28 h 35"/>
                <a:gd name="T20" fmla="*/ 16 w 34"/>
                <a:gd name="T21" fmla="*/ 33 h 35"/>
                <a:gd name="T22" fmla="*/ 25 w 34"/>
                <a:gd name="T23" fmla="*/ 31 h 35"/>
                <a:gd name="T24" fmla="*/ 34 w 34"/>
                <a:gd name="T25" fmla="*/ 2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35">
                  <a:moveTo>
                    <a:pt x="34" y="26"/>
                  </a:moveTo>
                  <a:cubicBezTo>
                    <a:pt x="34" y="27"/>
                    <a:pt x="31" y="29"/>
                    <a:pt x="26" y="32"/>
                  </a:cubicBezTo>
                  <a:cubicBezTo>
                    <a:pt x="23" y="34"/>
                    <a:pt x="20" y="35"/>
                    <a:pt x="16" y="35"/>
                  </a:cubicBezTo>
                  <a:cubicBezTo>
                    <a:pt x="11" y="35"/>
                    <a:pt x="6" y="34"/>
                    <a:pt x="3" y="30"/>
                  </a:cubicBezTo>
                  <a:cubicBezTo>
                    <a:pt x="0" y="26"/>
                    <a:pt x="0" y="20"/>
                    <a:pt x="1" y="16"/>
                  </a:cubicBezTo>
                  <a:cubicBezTo>
                    <a:pt x="2" y="12"/>
                    <a:pt x="4" y="9"/>
                    <a:pt x="6" y="7"/>
                  </a:cubicBezTo>
                  <a:cubicBezTo>
                    <a:pt x="10" y="2"/>
                    <a:pt x="13" y="0"/>
                    <a:pt x="13" y="0"/>
                  </a:cubicBezTo>
                  <a:cubicBezTo>
                    <a:pt x="13" y="0"/>
                    <a:pt x="11" y="3"/>
                    <a:pt x="7" y="8"/>
                  </a:cubicBezTo>
                  <a:cubicBezTo>
                    <a:pt x="6" y="10"/>
                    <a:pt x="4" y="13"/>
                    <a:pt x="3" y="17"/>
                  </a:cubicBezTo>
                  <a:cubicBezTo>
                    <a:pt x="2" y="20"/>
                    <a:pt x="2" y="25"/>
                    <a:pt x="5" y="28"/>
                  </a:cubicBezTo>
                  <a:cubicBezTo>
                    <a:pt x="7" y="32"/>
                    <a:pt x="12" y="33"/>
                    <a:pt x="16" y="33"/>
                  </a:cubicBezTo>
                  <a:cubicBezTo>
                    <a:pt x="19" y="33"/>
                    <a:pt x="23" y="32"/>
                    <a:pt x="25" y="31"/>
                  </a:cubicBezTo>
                  <a:cubicBezTo>
                    <a:pt x="31" y="28"/>
                    <a:pt x="34" y="26"/>
                    <a:pt x="34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B8D51138-9F29-4EB8-9135-4560F0163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" y="1324"/>
              <a:ext cx="116" cy="117"/>
            </a:xfrm>
            <a:custGeom>
              <a:avLst/>
              <a:gdLst>
                <a:gd name="T0" fmla="*/ 0 w 49"/>
                <a:gd name="T1" fmla="*/ 30 h 49"/>
                <a:gd name="T2" fmla="*/ 1 w 49"/>
                <a:gd name="T3" fmla="*/ 33 h 49"/>
                <a:gd name="T4" fmla="*/ 6 w 49"/>
                <a:gd name="T5" fmla="*/ 41 h 49"/>
                <a:gd name="T6" fmla="*/ 17 w 49"/>
                <a:gd name="T7" fmla="*/ 46 h 49"/>
                <a:gd name="T8" fmla="*/ 28 w 49"/>
                <a:gd name="T9" fmla="*/ 35 h 49"/>
                <a:gd name="T10" fmla="*/ 31 w 49"/>
                <a:gd name="T11" fmla="*/ 18 h 49"/>
                <a:gd name="T12" fmla="*/ 37 w 49"/>
                <a:gd name="T13" fmla="*/ 5 h 49"/>
                <a:gd name="T14" fmla="*/ 46 w 49"/>
                <a:gd name="T15" fmla="*/ 0 h 49"/>
                <a:gd name="T16" fmla="*/ 49 w 49"/>
                <a:gd name="T17" fmla="*/ 0 h 49"/>
                <a:gd name="T18" fmla="*/ 46 w 49"/>
                <a:gd name="T19" fmla="*/ 1 h 49"/>
                <a:gd name="T20" fmla="*/ 38 w 49"/>
                <a:gd name="T21" fmla="*/ 6 h 49"/>
                <a:gd name="T22" fmla="*/ 33 w 49"/>
                <a:gd name="T23" fmla="*/ 19 h 49"/>
                <a:gd name="T24" fmla="*/ 30 w 49"/>
                <a:gd name="T25" fmla="*/ 36 h 49"/>
                <a:gd name="T26" fmla="*/ 18 w 49"/>
                <a:gd name="T27" fmla="*/ 48 h 49"/>
                <a:gd name="T28" fmla="*/ 10 w 49"/>
                <a:gd name="T29" fmla="*/ 47 h 49"/>
                <a:gd name="T30" fmla="*/ 5 w 49"/>
                <a:gd name="T31" fmla="*/ 42 h 49"/>
                <a:gd name="T32" fmla="*/ 1 w 49"/>
                <a:gd name="T33" fmla="*/ 33 h 49"/>
                <a:gd name="T34" fmla="*/ 0 w 49"/>
                <a:gd name="T35" fmla="*/ 3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49">
                  <a:moveTo>
                    <a:pt x="0" y="30"/>
                  </a:moveTo>
                  <a:cubicBezTo>
                    <a:pt x="0" y="30"/>
                    <a:pt x="1" y="31"/>
                    <a:pt x="1" y="33"/>
                  </a:cubicBezTo>
                  <a:cubicBezTo>
                    <a:pt x="2" y="35"/>
                    <a:pt x="3" y="38"/>
                    <a:pt x="6" y="41"/>
                  </a:cubicBezTo>
                  <a:cubicBezTo>
                    <a:pt x="8" y="44"/>
                    <a:pt x="12" y="47"/>
                    <a:pt x="17" y="46"/>
                  </a:cubicBezTo>
                  <a:cubicBezTo>
                    <a:pt x="22" y="46"/>
                    <a:pt x="27" y="41"/>
                    <a:pt x="28" y="35"/>
                  </a:cubicBezTo>
                  <a:cubicBezTo>
                    <a:pt x="30" y="30"/>
                    <a:pt x="30" y="24"/>
                    <a:pt x="31" y="18"/>
                  </a:cubicBezTo>
                  <a:cubicBezTo>
                    <a:pt x="32" y="13"/>
                    <a:pt x="34" y="8"/>
                    <a:pt x="37" y="5"/>
                  </a:cubicBezTo>
                  <a:cubicBezTo>
                    <a:pt x="40" y="2"/>
                    <a:pt x="43" y="0"/>
                    <a:pt x="46" y="0"/>
                  </a:cubicBezTo>
                  <a:cubicBezTo>
                    <a:pt x="48" y="0"/>
                    <a:pt x="49" y="0"/>
                    <a:pt x="49" y="0"/>
                  </a:cubicBezTo>
                  <a:cubicBezTo>
                    <a:pt x="49" y="0"/>
                    <a:pt x="48" y="0"/>
                    <a:pt x="46" y="1"/>
                  </a:cubicBezTo>
                  <a:cubicBezTo>
                    <a:pt x="44" y="1"/>
                    <a:pt x="41" y="3"/>
                    <a:pt x="38" y="6"/>
                  </a:cubicBezTo>
                  <a:cubicBezTo>
                    <a:pt x="36" y="9"/>
                    <a:pt x="34" y="13"/>
                    <a:pt x="33" y="19"/>
                  </a:cubicBezTo>
                  <a:cubicBezTo>
                    <a:pt x="32" y="24"/>
                    <a:pt x="32" y="30"/>
                    <a:pt x="30" y="36"/>
                  </a:cubicBezTo>
                  <a:cubicBezTo>
                    <a:pt x="28" y="42"/>
                    <a:pt x="24" y="47"/>
                    <a:pt x="18" y="48"/>
                  </a:cubicBezTo>
                  <a:cubicBezTo>
                    <a:pt x="15" y="49"/>
                    <a:pt x="12" y="48"/>
                    <a:pt x="10" y="47"/>
                  </a:cubicBezTo>
                  <a:cubicBezTo>
                    <a:pt x="7" y="46"/>
                    <a:pt x="6" y="44"/>
                    <a:pt x="5" y="42"/>
                  </a:cubicBezTo>
                  <a:cubicBezTo>
                    <a:pt x="2" y="39"/>
                    <a:pt x="1" y="35"/>
                    <a:pt x="1" y="33"/>
                  </a:cubicBezTo>
                  <a:cubicBezTo>
                    <a:pt x="0" y="31"/>
                    <a:pt x="0" y="30"/>
                    <a:pt x="0" y="3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F9FFA9EC-4479-478D-BBC1-27DF4DCEB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" y="1980"/>
              <a:ext cx="185" cy="327"/>
            </a:xfrm>
            <a:custGeom>
              <a:avLst/>
              <a:gdLst>
                <a:gd name="T0" fmla="*/ 15 w 78"/>
                <a:gd name="T1" fmla="*/ 0 h 138"/>
                <a:gd name="T2" fmla="*/ 15 w 78"/>
                <a:gd name="T3" fmla="*/ 124 h 138"/>
                <a:gd name="T4" fmla="*/ 44 w 78"/>
                <a:gd name="T5" fmla="*/ 133 h 138"/>
                <a:gd name="T6" fmla="*/ 73 w 78"/>
                <a:gd name="T7" fmla="*/ 109 h 138"/>
                <a:gd name="T8" fmla="*/ 78 w 78"/>
                <a:gd name="T9" fmla="*/ 0 h 138"/>
                <a:gd name="T10" fmla="*/ 15 w 78"/>
                <a:gd name="T11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138">
                  <a:moveTo>
                    <a:pt x="15" y="0"/>
                  </a:moveTo>
                  <a:cubicBezTo>
                    <a:pt x="15" y="0"/>
                    <a:pt x="0" y="110"/>
                    <a:pt x="15" y="124"/>
                  </a:cubicBezTo>
                  <a:cubicBezTo>
                    <a:pt x="30" y="138"/>
                    <a:pt x="44" y="133"/>
                    <a:pt x="44" y="133"/>
                  </a:cubicBezTo>
                  <a:cubicBezTo>
                    <a:pt x="73" y="109"/>
                    <a:pt x="73" y="109"/>
                    <a:pt x="73" y="109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2F4C26A1-B055-47F6-B6DD-885B53808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4" y="1094"/>
              <a:ext cx="335" cy="264"/>
            </a:xfrm>
            <a:custGeom>
              <a:avLst/>
              <a:gdLst>
                <a:gd name="T0" fmla="*/ 0 w 335"/>
                <a:gd name="T1" fmla="*/ 154 h 264"/>
                <a:gd name="T2" fmla="*/ 45 w 335"/>
                <a:gd name="T3" fmla="*/ 107 h 264"/>
                <a:gd name="T4" fmla="*/ 121 w 335"/>
                <a:gd name="T5" fmla="*/ 166 h 264"/>
                <a:gd name="T6" fmla="*/ 295 w 335"/>
                <a:gd name="T7" fmla="*/ 0 h 264"/>
                <a:gd name="T8" fmla="*/ 335 w 335"/>
                <a:gd name="T9" fmla="*/ 48 h 264"/>
                <a:gd name="T10" fmla="*/ 119 w 335"/>
                <a:gd name="T11" fmla="*/ 264 h 264"/>
                <a:gd name="T12" fmla="*/ 0 w 335"/>
                <a:gd name="T13" fmla="*/ 15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4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5" y="0"/>
                  </a:lnTo>
                  <a:lnTo>
                    <a:pt x="335" y="48"/>
                  </a:lnTo>
                  <a:lnTo>
                    <a:pt x="119" y="26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04AD420D-3EAE-4B3F-AF1E-9BC06986D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3" y="1253"/>
              <a:ext cx="402" cy="584"/>
            </a:xfrm>
            <a:custGeom>
              <a:avLst/>
              <a:gdLst>
                <a:gd name="T0" fmla="*/ 162 w 169"/>
                <a:gd name="T1" fmla="*/ 4 h 246"/>
                <a:gd name="T2" fmla="*/ 134 w 169"/>
                <a:gd name="T3" fmla="*/ 22 h 246"/>
                <a:gd name="T4" fmla="*/ 125 w 169"/>
                <a:gd name="T5" fmla="*/ 5 h 246"/>
                <a:gd name="T6" fmla="*/ 125 w 169"/>
                <a:gd name="T7" fmla="*/ 39 h 246"/>
                <a:gd name="T8" fmla="*/ 76 w 169"/>
                <a:gd name="T9" fmla="*/ 143 h 246"/>
                <a:gd name="T10" fmla="*/ 46 w 169"/>
                <a:gd name="T11" fmla="*/ 172 h 246"/>
                <a:gd name="T12" fmla="*/ 0 w 169"/>
                <a:gd name="T13" fmla="*/ 186 h 246"/>
                <a:gd name="T14" fmla="*/ 18 w 169"/>
                <a:gd name="T15" fmla="*/ 246 h 246"/>
                <a:gd name="T16" fmla="*/ 81 w 169"/>
                <a:gd name="T17" fmla="*/ 225 h 246"/>
                <a:gd name="T18" fmla="*/ 116 w 169"/>
                <a:gd name="T19" fmla="*/ 190 h 246"/>
                <a:gd name="T20" fmla="*/ 160 w 169"/>
                <a:gd name="T21" fmla="*/ 56 h 246"/>
                <a:gd name="T22" fmla="*/ 168 w 169"/>
                <a:gd name="T23" fmla="*/ 30 h 246"/>
                <a:gd name="T24" fmla="*/ 162 w 169"/>
                <a:gd name="T25" fmla="*/ 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46">
                  <a:moveTo>
                    <a:pt x="162" y="4"/>
                  </a:moveTo>
                  <a:cubicBezTo>
                    <a:pt x="134" y="22"/>
                    <a:pt x="134" y="22"/>
                    <a:pt x="134" y="22"/>
                  </a:cubicBezTo>
                  <a:cubicBezTo>
                    <a:pt x="133" y="11"/>
                    <a:pt x="125" y="0"/>
                    <a:pt x="125" y="5"/>
                  </a:cubicBezTo>
                  <a:cubicBezTo>
                    <a:pt x="126" y="11"/>
                    <a:pt x="125" y="39"/>
                    <a:pt x="125" y="39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69" y="159"/>
                    <a:pt x="56" y="170"/>
                    <a:pt x="46" y="172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81" y="225"/>
                    <a:pt x="81" y="225"/>
                    <a:pt x="81" y="225"/>
                  </a:cubicBezTo>
                  <a:cubicBezTo>
                    <a:pt x="98" y="220"/>
                    <a:pt x="111" y="207"/>
                    <a:pt x="116" y="1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160" y="56"/>
                    <a:pt x="166" y="41"/>
                    <a:pt x="168" y="30"/>
                  </a:cubicBezTo>
                  <a:cubicBezTo>
                    <a:pt x="169" y="19"/>
                    <a:pt x="162" y="4"/>
                    <a:pt x="162" y="4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8AA53D8E-BF5F-4086-AD65-F43333C91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879"/>
              <a:ext cx="254" cy="114"/>
            </a:xfrm>
            <a:custGeom>
              <a:avLst/>
              <a:gdLst>
                <a:gd name="T0" fmla="*/ 58 w 107"/>
                <a:gd name="T1" fmla="*/ 31 h 48"/>
                <a:gd name="T2" fmla="*/ 57 w 107"/>
                <a:gd name="T3" fmla="*/ 0 h 48"/>
                <a:gd name="T4" fmla="*/ 0 w 107"/>
                <a:gd name="T5" fmla="*/ 1 h 48"/>
                <a:gd name="T6" fmla="*/ 0 w 107"/>
                <a:gd name="T7" fmla="*/ 46 h 48"/>
                <a:gd name="T8" fmla="*/ 4 w 107"/>
                <a:gd name="T9" fmla="*/ 46 h 48"/>
                <a:gd name="T10" fmla="*/ 95 w 107"/>
                <a:gd name="T11" fmla="*/ 45 h 48"/>
                <a:gd name="T12" fmla="*/ 58 w 107"/>
                <a:gd name="T13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48">
                  <a:moveTo>
                    <a:pt x="58" y="31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20" y="47"/>
                    <a:pt x="84" y="48"/>
                    <a:pt x="95" y="45"/>
                  </a:cubicBezTo>
                  <a:cubicBezTo>
                    <a:pt x="107" y="41"/>
                    <a:pt x="58" y="31"/>
                    <a:pt x="58" y="31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0" name="Rectangle 103">
              <a:extLst>
                <a:ext uri="{FF2B5EF4-FFF2-40B4-BE49-F238E27FC236}">
                  <a16:creationId xmlns:a16="http://schemas.microsoft.com/office/drawing/2014/main" id="{E732848B-D3F2-4401-9E60-8428ABF7B5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4" y="394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1" name="Freeform 104">
              <a:extLst>
                <a:ext uri="{FF2B5EF4-FFF2-40B4-BE49-F238E27FC236}">
                  <a16:creationId xmlns:a16="http://schemas.microsoft.com/office/drawing/2014/main" id="{34913DE9-799C-4DB0-B8E0-5CCAF7C86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4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2" name="Freeform 105">
              <a:extLst>
                <a:ext uri="{FF2B5EF4-FFF2-40B4-BE49-F238E27FC236}">
                  <a16:creationId xmlns:a16="http://schemas.microsoft.com/office/drawing/2014/main" id="{50B43596-DB8C-4A1A-B385-1804D6F9B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48"/>
              <a:ext cx="49" cy="38"/>
            </a:xfrm>
            <a:custGeom>
              <a:avLst/>
              <a:gdLst>
                <a:gd name="T0" fmla="*/ 2 w 21"/>
                <a:gd name="T1" fmla="*/ 0 h 16"/>
                <a:gd name="T2" fmla="*/ 0 w 21"/>
                <a:gd name="T3" fmla="*/ 0 h 16"/>
                <a:gd name="T4" fmla="*/ 0 w 21"/>
                <a:gd name="T5" fmla="*/ 0 h 16"/>
                <a:gd name="T6" fmla="*/ 0 w 21"/>
                <a:gd name="T7" fmla="*/ 16 h 16"/>
                <a:gd name="T8" fmla="*/ 0 w 21"/>
                <a:gd name="T9" fmla="*/ 16 h 16"/>
                <a:gd name="T10" fmla="*/ 21 w 21"/>
                <a:gd name="T11" fmla="*/ 15 h 16"/>
                <a:gd name="T12" fmla="*/ 13 w 21"/>
                <a:gd name="T13" fmla="*/ 4 h 16"/>
                <a:gd name="T14" fmla="*/ 2 w 21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6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1"/>
                    <a:pt x="17" y="7"/>
                    <a:pt x="13" y="4"/>
                  </a:cubicBezTo>
                  <a:cubicBezTo>
                    <a:pt x="10" y="1"/>
                    <a:pt x="6" y="0"/>
                    <a:pt x="2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3" name="Freeform 106">
              <a:extLst>
                <a:ext uri="{FF2B5EF4-FFF2-40B4-BE49-F238E27FC236}">
                  <a16:creationId xmlns:a16="http://schemas.microsoft.com/office/drawing/2014/main" id="{33759FFA-2599-484E-9E4F-E34F69752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4" y="3967"/>
              <a:ext cx="230" cy="24"/>
            </a:xfrm>
            <a:custGeom>
              <a:avLst/>
              <a:gdLst>
                <a:gd name="T0" fmla="*/ 0 w 97"/>
                <a:gd name="T1" fmla="*/ 9 h 10"/>
                <a:gd name="T2" fmla="*/ 41 w 97"/>
                <a:gd name="T3" fmla="*/ 10 h 10"/>
                <a:gd name="T4" fmla="*/ 55 w 97"/>
                <a:gd name="T5" fmla="*/ 10 h 10"/>
                <a:gd name="T6" fmla="*/ 52 w 97"/>
                <a:gd name="T7" fmla="*/ 10 h 10"/>
                <a:gd name="T8" fmla="*/ 4 w 97"/>
                <a:gd name="T9" fmla="*/ 9 h 10"/>
                <a:gd name="T10" fmla="*/ 0 w 97"/>
                <a:gd name="T11" fmla="*/ 9 h 10"/>
                <a:gd name="T12" fmla="*/ 97 w 97"/>
                <a:gd name="T13" fmla="*/ 6 h 10"/>
                <a:gd name="T14" fmla="*/ 95 w 97"/>
                <a:gd name="T15" fmla="*/ 8 h 10"/>
                <a:gd name="T16" fmla="*/ 95 w 97"/>
                <a:gd name="T17" fmla="*/ 8 h 10"/>
                <a:gd name="T18" fmla="*/ 97 w 97"/>
                <a:gd name="T19" fmla="*/ 7 h 10"/>
                <a:gd name="T20" fmla="*/ 97 w 97"/>
                <a:gd name="T21" fmla="*/ 6 h 10"/>
                <a:gd name="T22" fmla="*/ 82 w 97"/>
                <a:gd name="T23" fmla="*/ 0 h 10"/>
                <a:gd name="T24" fmla="*/ 82 w 97"/>
                <a:gd name="T25" fmla="*/ 0 h 10"/>
                <a:gd name="T26" fmla="*/ 86 w 97"/>
                <a:gd name="T27" fmla="*/ 1 h 10"/>
                <a:gd name="T28" fmla="*/ 82 w 9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0">
                  <a:moveTo>
                    <a:pt x="0" y="9"/>
                  </a:moveTo>
                  <a:cubicBezTo>
                    <a:pt x="11" y="10"/>
                    <a:pt x="26" y="10"/>
                    <a:pt x="41" y="10"/>
                  </a:cubicBezTo>
                  <a:cubicBezTo>
                    <a:pt x="46" y="10"/>
                    <a:pt x="51" y="10"/>
                    <a:pt x="55" y="10"/>
                  </a:cubicBezTo>
                  <a:cubicBezTo>
                    <a:pt x="54" y="10"/>
                    <a:pt x="53" y="10"/>
                    <a:pt x="52" y="10"/>
                  </a:cubicBezTo>
                  <a:cubicBezTo>
                    <a:pt x="32" y="10"/>
                    <a:pt x="12" y="9"/>
                    <a:pt x="4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97" y="6"/>
                  </a:moveTo>
                  <a:cubicBezTo>
                    <a:pt x="97" y="7"/>
                    <a:pt x="97" y="7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8"/>
                    <a:pt x="97" y="7"/>
                    <a:pt x="97" y="7"/>
                  </a:cubicBezTo>
                  <a:cubicBezTo>
                    <a:pt x="97" y="7"/>
                    <a:pt x="97" y="6"/>
                    <a:pt x="97" y="6"/>
                  </a:cubicBezTo>
                  <a:moveTo>
                    <a:pt x="82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4" y="0"/>
                    <a:pt x="86" y="1"/>
                  </a:cubicBezTo>
                  <a:cubicBezTo>
                    <a:pt x="83" y="0"/>
                    <a:pt x="82" y="0"/>
                    <a:pt x="8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4" name="Freeform 107">
              <a:extLst>
                <a:ext uri="{FF2B5EF4-FFF2-40B4-BE49-F238E27FC236}">
                  <a16:creationId xmlns:a16="http://schemas.microsoft.com/office/drawing/2014/main" id="{D2B73AFC-7AB9-4770-AB3D-14483672D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67"/>
              <a:ext cx="230" cy="24"/>
            </a:xfrm>
            <a:custGeom>
              <a:avLst/>
              <a:gdLst>
                <a:gd name="T0" fmla="*/ 82 w 97"/>
                <a:gd name="T1" fmla="*/ 0 h 10"/>
                <a:gd name="T2" fmla="*/ 77 w 97"/>
                <a:gd name="T3" fmla="*/ 7 h 10"/>
                <a:gd name="T4" fmla="*/ 21 w 97"/>
                <a:gd name="T5" fmla="*/ 7 h 10"/>
                <a:gd name="T6" fmla="*/ 21 w 97"/>
                <a:gd name="T7" fmla="*/ 8 h 10"/>
                <a:gd name="T8" fmla="*/ 0 w 97"/>
                <a:gd name="T9" fmla="*/ 8 h 10"/>
                <a:gd name="T10" fmla="*/ 0 w 97"/>
                <a:gd name="T11" fmla="*/ 9 h 10"/>
                <a:gd name="T12" fmla="*/ 0 w 97"/>
                <a:gd name="T13" fmla="*/ 9 h 10"/>
                <a:gd name="T14" fmla="*/ 4 w 97"/>
                <a:gd name="T15" fmla="*/ 9 h 10"/>
                <a:gd name="T16" fmla="*/ 52 w 97"/>
                <a:gd name="T17" fmla="*/ 10 h 10"/>
                <a:gd name="T18" fmla="*/ 55 w 97"/>
                <a:gd name="T19" fmla="*/ 10 h 10"/>
                <a:gd name="T20" fmla="*/ 95 w 97"/>
                <a:gd name="T21" fmla="*/ 8 h 10"/>
                <a:gd name="T22" fmla="*/ 95 w 97"/>
                <a:gd name="T23" fmla="*/ 8 h 10"/>
                <a:gd name="T24" fmla="*/ 97 w 97"/>
                <a:gd name="T25" fmla="*/ 6 h 10"/>
                <a:gd name="T26" fmla="*/ 86 w 97"/>
                <a:gd name="T27" fmla="*/ 1 h 10"/>
                <a:gd name="T28" fmla="*/ 82 w 9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0">
                  <a:moveTo>
                    <a:pt x="82" y="0"/>
                  </a:moveTo>
                  <a:cubicBezTo>
                    <a:pt x="78" y="0"/>
                    <a:pt x="77" y="7"/>
                    <a:pt x="77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2" y="9"/>
                    <a:pt x="32" y="10"/>
                    <a:pt x="52" y="10"/>
                  </a:cubicBezTo>
                  <a:cubicBezTo>
                    <a:pt x="53" y="10"/>
                    <a:pt x="54" y="10"/>
                    <a:pt x="55" y="10"/>
                  </a:cubicBezTo>
                  <a:cubicBezTo>
                    <a:pt x="73" y="10"/>
                    <a:pt x="89" y="9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7" y="7"/>
                    <a:pt x="97" y="7"/>
                    <a:pt x="97" y="6"/>
                  </a:cubicBezTo>
                  <a:cubicBezTo>
                    <a:pt x="95" y="4"/>
                    <a:pt x="90" y="2"/>
                    <a:pt x="86" y="1"/>
                  </a:cubicBezTo>
                  <a:cubicBezTo>
                    <a:pt x="84" y="0"/>
                    <a:pt x="83" y="0"/>
                    <a:pt x="82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5" name="Freeform 108">
              <a:extLst>
                <a:ext uri="{FF2B5EF4-FFF2-40B4-BE49-F238E27FC236}">
                  <a16:creationId xmlns:a16="http://schemas.microsoft.com/office/drawing/2014/main" id="{FD35DEC8-C157-4D5E-8EB2-39CD77862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84"/>
              <a:ext cx="49" cy="2"/>
            </a:xfrm>
            <a:custGeom>
              <a:avLst/>
              <a:gdLst>
                <a:gd name="T0" fmla="*/ 21 w 21"/>
                <a:gd name="T1" fmla="*/ 0 h 1"/>
                <a:gd name="T2" fmla="*/ 0 w 21"/>
                <a:gd name="T3" fmla="*/ 1 h 1"/>
                <a:gd name="T4" fmla="*/ 0 w 21"/>
                <a:gd name="T5" fmla="*/ 1 h 1"/>
                <a:gd name="T6" fmla="*/ 21 w 21"/>
                <a:gd name="T7" fmla="*/ 1 h 1"/>
                <a:gd name="T8" fmla="*/ 21 w 2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">
                  <a:moveTo>
                    <a:pt x="2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0"/>
                  </a:cubicBezTo>
                </a:path>
              </a:pathLst>
            </a:custGeom>
            <a:solidFill>
              <a:srgbClr val="F8CB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6" name="Freeform 109">
              <a:extLst>
                <a:ext uri="{FF2B5EF4-FFF2-40B4-BE49-F238E27FC236}">
                  <a16:creationId xmlns:a16="http://schemas.microsoft.com/office/drawing/2014/main" id="{0E3C2C8D-8FB9-44FF-AB66-319A397F6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1" y="3981"/>
              <a:ext cx="233" cy="5"/>
            </a:xfrm>
            <a:custGeom>
              <a:avLst/>
              <a:gdLst>
                <a:gd name="T0" fmla="*/ 0 w 98"/>
                <a:gd name="T1" fmla="*/ 2 h 2"/>
                <a:gd name="T2" fmla="*/ 1 w 98"/>
                <a:gd name="T3" fmla="*/ 2 h 2"/>
                <a:gd name="T4" fmla="*/ 4 w 98"/>
                <a:gd name="T5" fmla="*/ 2 h 2"/>
                <a:gd name="T6" fmla="*/ 15 w 98"/>
                <a:gd name="T7" fmla="*/ 2 h 2"/>
                <a:gd name="T8" fmla="*/ 49 w 98"/>
                <a:gd name="T9" fmla="*/ 2 h 2"/>
                <a:gd name="T10" fmla="*/ 84 w 98"/>
                <a:gd name="T11" fmla="*/ 1 h 2"/>
                <a:gd name="T12" fmla="*/ 94 w 98"/>
                <a:gd name="T13" fmla="*/ 0 h 2"/>
                <a:gd name="T14" fmla="*/ 97 w 98"/>
                <a:gd name="T15" fmla="*/ 0 h 2"/>
                <a:gd name="T16" fmla="*/ 98 w 98"/>
                <a:gd name="T17" fmla="*/ 0 h 2"/>
                <a:gd name="T18" fmla="*/ 97 w 98"/>
                <a:gd name="T19" fmla="*/ 0 h 2"/>
                <a:gd name="T20" fmla="*/ 94 w 98"/>
                <a:gd name="T21" fmla="*/ 0 h 2"/>
                <a:gd name="T22" fmla="*/ 84 w 98"/>
                <a:gd name="T23" fmla="*/ 1 h 2"/>
                <a:gd name="T24" fmla="*/ 49 w 98"/>
                <a:gd name="T25" fmla="*/ 1 h 2"/>
                <a:gd name="T26" fmla="*/ 15 w 98"/>
                <a:gd name="T27" fmla="*/ 2 h 2"/>
                <a:gd name="T28" fmla="*/ 4 w 98"/>
                <a:gd name="T29" fmla="*/ 1 h 2"/>
                <a:gd name="T30" fmla="*/ 1 w 98"/>
                <a:gd name="T31" fmla="*/ 1 h 2"/>
                <a:gd name="T32" fmla="*/ 0 w 98"/>
                <a:gd name="T3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7" y="2"/>
                    <a:pt x="10" y="2"/>
                    <a:pt x="15" y="2"/>
                  </a:cubicBezTo>
                  <a:cubicBezTo>
                    <a:pt x="23" y="2"/>
                    <a:pt x="36" y="2"/>
                    <a:pt x="49" y="2"/>
                  </a:cubicBezTo>
                  <a:cubicBezTo>
                    <a:pt x="63" y="2"/>
                    <a:pt x="75" y="1"/>
                    <a:pt x="84" y="1"/>
                  </a:cubicBezTo>
                  <a:cubicBezTo>
                    <a:pt x="88" y="1"/>
                    <a:pt x="91" y="1"/>
                    <a:pt x="94" y="0"/>
                  </a:cubicBezTo>
                  <a:cubicBezTo>
                    <a:pt x="95" y="0"/>
                    <a:pt x="96" y="0"/>
                    <a:pt x="97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7" y="0"/>
                  </a:cubicBezTo>
                  <a:cubicBezTo>
                    <a:pt x="96" y="0"/>
                    <a:pt x="95" y="0"/>
                    <a:pt x="94" y="0"/>
                  </a:cubicBezTo>
                  <a:cubicBezTo>
                    <a:pt x="91" y="0"/>
                    <a:pt x="88" y="0"/>
                    <a:pt x="84" y="1"/>
                  </a:cubicBezTo>
                  <a:cubicBezTo>
                    <a:pt x="75" y="1"/>
                    <a:pt x="63" y="1"/>
                    <a:pt x="49" y="1"/>
                  </a:cubicBezTo>
                  <a:cubicBezTo>
                    <a:pt x="36" y="2"/>
                    <a:pt x="23" y="2"/>
                    <a:pt x="15" y="2"/>
                  </a:cubicBezTo>
                  <a:cubicBezTo>
                    <a:pt x="10" y="2"/>
                    <a:pt x="7" y="1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7" name="Freeform 110">
              <a:extLst>
                <a:ext uri="{FF2B5EF4-FFF2-40B4-BE49-F238E27FC236}">
                  <a16:creationId xmlns:a16="http://schemas.microsoft.com/office/drawing/2014/main" id="{FC51AAE5-4858-45FA-93EC-87D84DF12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" y="3965"/>
              <a:ext cx="14" cy="21"/>
            </a:xfrm>
            <a:custGeom>
              <a:avLst/>
              <a:gdLst>
                <a:gd name="T0" fmla="*/ 1 w 6"/>
                <a:gd name="T1" fmla="*/ 9 h 9"/>
                <a:gd name="T2" fmla="*/ 3 w 6"/>
                <a:gd name="T3" fmla="*/ 4 h 9"/>
                <a:gd name="T4" fmla="*/ 6 w 6"/>
                <a:gd name="T5" fmla="*/ 0 h 9"/>
                <a:gd name="T6" fmla="*/ 2 w 6"/>
                <a:gd name="T7" fmla="*/ 4 h 9"/>
                <a:gd name="T8" fmla="*/ 1 w 6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1" y="9"/>
                  </a:moveTo>
                  <a:cubicBezTo>
                    <a:pt x="1" y="9"/>
                    <a:pt x="1" y="6"/>
                    <a:pt x="3" y="4"/>
                  </a:cubicBezTo>
                  <a:cubicBezTo>
                    <a:pt x="4" y="1"/>
                    <a:pt x="6" y="0"/>
                    <a:pt x="6" y="0"/>
                  </a:cubicBezTo>
                  <a:cubicBezTo>
                    <a:pt x="6" y="0"/>
                    <a:pt x="4" y="1"/>
                    <a:pt x="2" y="4"/>
                  </a:cubicBezTo>
                  <a:cubicBezTo>
                    <a:pt x="0" y="6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8" name="Freeform 111">
              <a:extLst>
                <a:ext uri="{FF2B5EF4-FFF2-40B4-BE49-F238E27FC236}">
                  <a16:creationId xmlns:a16="http://schemas.microsoft.com/office/drawing/2014/main" id="{8C4F4CF4-F235-41F5-B4DD-5B719DA1D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4" y="3955"/>
              <a:ext cx="9" cy="12"/>
            </a:xfrm>
            <a:custGeom>
              <a:avLst/>
              <a:gdLst>
                <a:gd name="T0" fmla="*/ 1 w 4"/>
                <a:gd name="T1" fmla="*/ 5 h 5"/>
                <a:gd name="T2" fmla="*/ 2 w 4"/>
                <a:gd name="T3" fmla="*/ 2 h 5"/>
                <a:gd name="T4" fmla="*/ 4 w 4"/>
                <a:gd name="T5" fmla="*/ 0 h 5"/>
                <a:gd name="T6" fmla="*/ 2 w 4"/>
                <a:gd name="T7" fmla="*/ 2 h 5"/>
                <a:gd name="T8" fmla="*/ 1 w 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1" y="5"/>
                  </a:moveTo>
                  <a:cubicBezTo>
                    <a:pt x="1" y="5"/>
                    <a:pt x="2" y="4"/>
                    <a:pt x="2" y="2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3" y="0"/>
                    <a:pt x="3" y="1"/>
                    <a:pt x="2" y="2"/>
                  </a:cubicBezTo>
                  <a:cubicBezTo>
                    <a:pt x="1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9" name="Freeform 112">
              <a:extLst>
                <a:ext uri="{FF2B5EF4-FFF2-40B4-BE49-F238E27FC236}">
                  <a16:creationId xmlns:a16="http://schemas.microsoft.com/office/drawing/2014/main" id="{E3FA20C6-3809-4B35-993A-4B5A51363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" y="3953"/>
              <a:ext cx="10" cy="7"/>
            </a:xfrm>
            <a:custGeom>
              <a:avLst/>
              <a:gdLst>
                <a:gd name="T0" fmla="*/ 0 w 4"/>
                <a:gd name="T1" fmla="*/ 3 h 3"/>
                <a:gd name="T2" fmla="*/ 2 w 4"/>
                <a:gd name="T3" fmla="*/ 2 h 3"/>
                <a:gd name="T4" fmla="*/ 3 w 4"/>
                <a:gd name="T5" fmla="*/ 0 h 3"/>
                <a:gd name="T6" fmla="*/ 1 w 4"/>
                <a:gd name="T7" fmla="*/ 1 h 3"/>
                <a:gd name="T8" fmla="*/ 0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3"/>
                    <a:pt x="1" y="3"/>
                    <a:pt x="2" y="2"/>
                  </a:cubicBezTo>
                  <a:cubicBezTo>
                    <a:pt x="3" y="1"/>
                    <a:pt x="4" y="0"/>
                    <a:pt x="3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0" name="Oval 113">
              <a:extLst>
                <a:ext uri="{FF2B5EF4-FFF2-40B4-BE49-F238E27FC236}">
                  <a16:creationId xmlns:a16="http://schemas.microsoft.com/office/drawing/2014/main" id="{D1825CBB-16C0-4736-8396-F2FC39726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7" y="3946"/>
              <a:ext cx="14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1" name="Freeform 114">
              <a:extLst>
                <a:ext uri="{FF2B5EF4-FFF2-40B4-BE49-F238E27FC236}">
                  <a16:creationId xmlns:a16="http://schemas.microsoft.com/office/drawing/2014/main" id="{528FA7C7-3FFD-4CA1-9FBE-7DBE439ED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" y="3939"/>
              <a:ext cx="16" cy="2"/>
            </a:xfrm>
            <a:custGeom>
              <a:avLst/>
              <a:gdLst>
                <a:gd name="T0" fmla="*/ 0 w 7"/>
                <a:gd name="T1" fmla="*/ 0 h 1"/>
                <a:gd name="T2" fmla="*/ 3 w 7"/>
                <a:gd name="T3" fmla="*/ 1 h 1"/>
                <a:gd name="T4" fmla="*/ 7 w 7"/>
                <a:gd name="T5" fmla="*/ 0 h 1"/>
                <a:gd name="T6" fmla="*/ 3 w 7"/>
                <a:gd name="T7" fmla="*/ 0 h 1"/>
                <a:gd name="T8" fmla="*/ 0 w 7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">
                  <a:moveTo>
                    <a:pt x="0" y="0"/>
                  </a:moveTo>
                  <a:cubicBezTo>
                    <a:pt x="0" y="0"/>
                    <a:pt x="1" y="1"/>
                    <a:pt x="3" y="1"/>
                  </a:cubicBezTo>
                  <a:cubicBezTo>
                    <a:pt x="5" y="1"/>
                    <a:pt x="7" y="1"/>
                    <a:pt x="7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2" name="Freeform 115">
              <a:extLst>
                <a:ext uri="{FF2B5EF4-FFF2-40B4-BE49-F238E27FC236}">
                  <a16:creationId xmlns:a16="http://schemas.microsoft.com/office/drawing/2014/main" id="{BE35D314-61A0-40C2-92DA-86EA28894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" y="3939"/>
              <a:ext cx="24" cy="19"/>
            </a:xfrm>
            <a:custGeom>
              <a:avLst/>
              <a:gdLst>
                <a:gd name="T0" fmla="*/ 0 w 10"/>
                <a:gd name="T1" fmla="*/ 7 h 8"/>
                <a:gd name="T2" fmla="*/ 3 w 10"/>
                <a:gd name="T3" fmla="*/ 6 h 8"/>
                <a:gd name="T4" fmla="*/ 7 w 10"/>
                <a:gd name="T5" fmla="*/ 6 h 8"/>
                <a:gd name="T6" fmla="*/ 9 w 10"/>
                <a:gd name="T7" fmla="*/ 5 h 8"/>
                <a:gd name="T8" fmla="*/ 10 w 10"/>
                <a:gd name="T9" fmla="*/ 3 h 8"/>
                <a:gd name="T10" fmla="*/ 10 w 10"/>
                <a:gd name="T11" fmla="*/ 2 h 8"/>
                <a:gd name="T12" fmla="*/ 1 w 10"/>
                <a:gd name="T13" fmla="*/ 4 h 8"/>
                <a:gd name="T14" fmla="*/ 0 w 10"/>
                <a:gd name="T15" fmla="*/ 7 h 8"/>
                <a:gd name="T16" fmla="*/ 0 w 10"/>
                <a:gd name="T17" fmla="*/ 8 h 8"/>
                <a:gd name="T18" fmla="*/ 2 w 10"/>
                <a:gd name="T19" fmla="*/ 4 h 8"/>
                <a:gd name="T20" fmla="*/ 5 w 10"/>
                <a:gd name="T21" fmla="*/ 2 h 8"/>
                <a:gd name="T22" fmla="*/ 9 w 10"/>
                <a:gd name="T23" fmla="*/ 2 h 8"/>
                <a:gd name="T24" fmla="*/ 9 w 10"/>
                <a:gd name="T25" fmla="*/ 4 h 8"/>
                <a:gd name="T26" fmla="*/ 7 w 10"/>
                <a:gd name="T27" fmla="*/ 5 h 8"/>
                <a:gd name="T28" fmla="*/ 3 w 10"/>
                <a:gd name="T29" fmla="*/ 6 h 8"/>
                <a:gd name="T30" fmla="*/ 0 w 10"/>
                <a:gd name="T31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8">
                  <a:moveTo>
                    <a:pt x="0" y="7"/>
                  </a:moveTo>
                  <a:cubicBezTo>
                    <a:pt x="0" y="7"/>
                    <a:pt x="1" y="7"/>
                    <a:pt x="3" y="6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10" y="4"/>
                    <a:pt x="10" y="4"/>
                    <a:pt x="10" y="3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6" y="0"/>
                    <a:pt x="3" y="2"/>
                    <a:pt x="1" y="4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8"/>
                    <a:pt x="0" y="6"/>
                    <a:pt x="2" y="4"/>
                  </a:cubicBezTo>
                  <a:cubicBezTo>
                    <a:pt x="2" y="3"/>
                    <a:pt x="3" y="3"/>
                    <a:pt x="5" y="2"/>
                  </a:cubicBezTo>
                  <a:cubicBezTo>
                    <a:pt x="6" y="2"/>
                    <a:pt x="8" y="2"/>
                    <a:pt x="9" y="2"/>
                  </a:cubicBezTo>
                  <a:cubicBezTo>
                    <a:pt x="10" y="3"/>
                    <a:pt x="10" y="4"/>
                    <a:pt x="9" y="4"/>
                  </a:cubicBezTo>
                  <a:cubicBezTo>
                    <a:pt x="8" y="4"/>
                    <a:pt x="8" y="5"/>
                    <a:pt x="7" y="5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1" y="6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3" name="Freeform 116">
              <a:extLst>
                <a:ext uri="{FF2B5EF4-FFF2-40B4-BE49-F238E27FC236}">
                  <a16:creationId xmlns:a16="http://schemas.microsoft.com/office/drawing/2014/main" id="{6790E3CE-23FB-4D39-81C1-AB1FC11F0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" y="3936"/>
              <a:ext cx="14" cy="19"/>
            </a:xfrm>
            <a:custGeom>
              <a:avLst/>
              <a:gdLst>
                <a:gd name="T0" fmla="*/ 5 w 6"/>
                <a:gd name="T1" fmla="*/ 8 h 8"/>
                <a:gd name="T2" fmla="*/ 6 w 6"/>
                <a:gd name="T3" fmla="*/ 5 h 8"/>
                <a:gd name="T4" fmla="*/ 5 w 6"/>
                <a:gd name="T5" fmla="*/ 2 h 8"/>
                <a:gd name="T6" fmla="*/ 2 w 6"/>
                <a:gd name="T7" fmla="*/ 1 h 8"/>
                <a:gd name="T8" fmla="*/ 1 w 6"/>
                <a:gd name="T9" fmla="*/ 2 h 8"/>
                <a:gd name="T10" fmla="*/ 1 w 6"/>
                <a:gd name="T11" fmla="*/ 4 h 8"/>
                <a:gd name="T12" fmla="*/ 3 w 6"/>
                <a:gd name="T13" fmla="*/ 6 h 8"/>
                <a:gd name="T14" fmla="*/ 5 w 6"/>
                <a:gd name="T15" fmla="*/ 8 h 8"/>
                <a:gd name="T16" fmla="*/ 3 w 6"/>
                <a:gd name="T17" fmla="*/ 6 h 8"/>
                <a:gd name="T18" fmla="*/ 2 w 6"/>
                <a:gd name="T19" fmla="*/ 4 h 8"/>
                <a:gd name="T20" fmla="*/ 2 w 6"/>
                <a:gd name="T21" fmla="*/ 1 h 8"/>
                <a:gd name="T22" fmla="*/ 4 w 6"/>
                <a:gd name="T23" fmla="*/ 3 h 8"/>
                <a:gd name="T24" fmla="*/ 5 w 6"/>
                <a:gd name="T25" fmla="*/ 5 h 8"/>
                <a:gd name="T26" fmla="*/ 5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5" y="8"/>
                  </a:moveTo>
                  <a:cubicBezTo>
                    <a:pt x="6" y="8"/>
                    <a:pt x="6" y="7"/>
                    <a:pt x="6" y="5"/>
                  </a:cubicBezTo>
                  <a:cubicBezTo>
                    <a:pt x="6" y="4"/>
                    <a:pt x="5" y="3"/>
                    <a:pt x="5" y="2"/>
                  </a:cubicBezTo>
                  <a:cubicBezTo>
                    <a:pt x="4" y="2"/>
                    <a:pt x="3" y="0"/>
                    <a:pt x="2" y="1"/>
                  </a:cubicBez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4" y="7"/>
                    <a:pt x="5" y="8"/>
                    <a:pt x="5" y="8"/>
                  </a:cubicBezTo>
                  <a:cubicBezTo>
                    <a:pt x="5" y="8"/>
                    <a:pt x="4" y="7"/>
                    <a:pt x="3" y="6"/>
                  </a:cubicBezTo>
                  <a:cubicBezTo>
                    <a:pt x="3" y="5"/>
                    <a:pt x="2" y="5"/>
                    <a:pt x="2" y="4"/>
                  </a:cubicBezTo>
                  <a:cubicBezTo>
                    <a:pt x="1" y="3"/>
                    <a:pt x="1" y="1"/>
                    <a:pt x="2" y="1"/>
                  </a:cubicBezTo>
                  <a:cubicBezTo>
                    <a:pt x="3" y="1"/>
                    <a:pt x="4" y="2"/>
                    <a:pt x="4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6" y="7"/>
                    <a:pt x="5" y="8"/>
                    <a:pt x="5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4" name="Freeform 117">
              <a:extLst>
                <a:ext uri="{FF2B5EF4-FFF2-40B4-BE49-F238E27FC236}">
                  <a16:creationId xmlns:a16="http://schemas.microsoft.com/office/drawing/2014/main" id="{9E83DEAF-20BA-4599-A031-02A0ADA42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46"/>
              <a:ext cx="49" cy="40"/>
            </a:xfrm>
            <a:custGeom>
              <a:avLst/>
              <a:gdLst>
                <a:gd name="T0" fmla="*/ 0 w 21"/>
                <a:gd name="T1" fmla="*/ 1 h 17"/>
                <a:gd name="T2" fmla="*/ 4 w 21"/>
                <a:gd name="T3" fmla="*/ 1 h 17"/>
                <a:gd name="T4" fmla="*/ 14 w 21"/>
                <a:gd name="T5" fmla="*/ 5 h 17"/>
                <a:gd name="T6" fmla="*/ 20 w 21"/>
                <a:gd name="T7" fmla="*/ 13 h 17"/>
                <a:gd name="T8" fmla="*/ 21 w 21"/>
                <a:gd name="T9" fmla="*/ 17 h 17"/>
                <a:gd name="T10" fmla="*/ 21 w 21"/>
                <a:gd name="T11" fmla="*/ 16 h 17"/>
                <a:gd name="T12" fmla="*/ 20 w 21"/>
                <a:gd name="T13" fmla="*/ 12 h 17"/>
                <a:gd name="T14" fmla="*/ 14 w 21"/>
                <a:gd name="T15" fmla="*/ 4 h 17"/>
                <a:gd name="T16" fmla="*/ 4 w 21"/>
                <a:gd name="T17" fmla="*/ 0 h 17"/>
                <a:gd name="T18" fmla="*/ 1 w 21"/>
                <a:gd name="T19" fmla="*/ 0 h 17"/>
                <a:gd name="T20" fmla="*/ 0 w 21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7">
                  <a:moveTo>
                    <a:pt x="0" y="1"/>
                  </a:moveTo>
                  <a:cubicBezTo>
                    <a:pt x="0" y="1"/>
                    <a:pt x="2" y="1"/>
                    <a:pt x="4" y="1"/>
                  </a:cubicBezTo>
                  <a:cubicBezTo>
                    <a:pt x="7" y="1"/>
                    <a:pt x="11" y="2"/>
                    <a:pt x="14" y="5"/>
                  </a:cubicBezTo>
                  <a:cubicBezTo>
                    <a:pt x="17" y="7"/>
                    <a:pt x="19" y="10"/>
                    <a:pt x="20" y="13"/>
                  </a:cubicBezTo>
                  <a:cubicBezTo>
                    <a:pt x="21" y="15"/>
                    <a:pt x="21" y="17"/>
                    <a:pt x="21" y="17"/>
                  </a:cubicBezTo>
                  <a:cubicBezTo>
                    <a:pt x="21" y="17"/>
                    <a:pt x="21" y="16"/>
                    <a:pt x="21" y="16"/>
                  </a:cubicBezTo>
                  <a:cubicBezTo>
                    <a:pt x="21" y="15"/>
                    <a:pt x="21" y="14"/>
                    <a:pt x="20" y="12"/>
                  </a:cubicBezTo>
                  <a:cubicBezTo>
                    <a:pt x="19" y="10"/>
                    <a:pt x="17" y="7"/>
                    <a:pt x="14" y="4"/>
                  </a:cubicBezTo>
                  <a:cubicBezTo>
                    <a:pt x="11" y="1"/>
                    <a:pt x="7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5" name="Oval 118">
              <a:extLst>
                <a:ext uri="{FF2B5EF4-FFF2-40B4-BE49-F238E27FC236}">
                  <a16:creationId xmlns:a16="http://schemas.microsoft.com/office/drawing/2014/main" id="{268585C4-3F87-4F95-8CC3-4B7FB3AA7B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6" y="3891"/>
              <a:ext cx="2" cy="5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6" name="Freeform 119">
              <a:extLst>
                <a:ext uri="{FF2B5EF4-FFF2-40B4-BE49-F238E27FC236}">
                  <a16:creationId xmlns:a16="http://schemas.microsoft.com/office/drawing/2014/main" id="{28E70902-7695-4ABF-87EA-0E9AEEE71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0" y="3972"/>
              <a:ext cx="40" cy="2"/>
            </a:xfrm>
            <a:custGeom>
              <a:avLst/>
              <a:gdLst>
                <a:gd name="T0" fmla="*/ 0 w 17"/>
                <a:gd name="T1" fmla="*/ 0 h 1"/>
                <a:gd name="T2" fmla="*/ 8 w 17"/>
                <a:gd name="T3" fmla="*/ 1 h 1"/>
                <a:gd name="T4" fmla="*/ 17 w 17"/>
                <a:gd name="T5" fmla="*/ 0 h 1"/>
                <a:gd name="T6" fmla="*/ 8 w 17"/>
                <a:gd name="T7" fmla="*/ 0 h 1"/>
                <a:gd name="T8" fmla="*/ 0 w 17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cubicBezTo>
                    <a:pt x="0" y="1"/>
                    <a:pt x="4" y="1"/>
                    <a:pt x="8" y="1"/>
                  </a:cubicBezTo>
                  <a:cubicBezTo>
                    <a:pt x="13" y="1"/>
                    <a:pt x="17" y="0"/>
                    <a:pt x="17" y="0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7" name="Freeform 120">
              <a:extLst>
                <a:ext uri="{FF2B5EF4-FFF2-40B4-BE49-F238E27FC236}">
                  <a16:creationId xmlns:a16="http://schemas.microsoft.com/office/drawing/2014/main" id="{CBEA4601-F8EB-48B9-981C-52D6AE5C1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4" y="3972"/>
              <a:ext cx="5" cy="9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2 h 4"/>
                <a:gd name="T4" fmla="*/ 1 w 2"/>
                <a:gd name="T5" fmla="*/ 4 h 4"/>
                <a:gd name="T6" fmla="*/ 1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2" y="3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8" name="Freeform 121">
              <a:extLst>
                <a:ext uri="{FF2B5EF4-FFF2-40B4-BE49-F238E27FC236}">
                  <a16:creationId xmlns:a16="http://schemas.microsoft.com/office/drawing/2014/main" id="{0DA6C819-8648-4C8D-946F-B26F7E596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" y="3960"/>
              <a:ext cx="7" cy="7"/>
            </a:xfrm>
            <a:custGeom>
              <a:avLst/>
              <a:gdLst>
                <a:gd name="T0" fmla="*/ 0 w 3"/>
                <a:gd name="T1" fmla="*/ 0 h 3"/>
                <a:gd name="T2" fmla="*/ 1 w 3"/>
                <a:gd name="T3" fmla="*/ 2 h 3"/>
                <a:gd name="T4" fmla="*/ 3 w 3"/>
                <a:gd name="T5" fmla="*/ 2 h 3"/>
                <a:gd name="T6" fmla="*/ 2 w 3"/>
                <a:gd name="T7" fmla="*/ 1 h 3"/>
                <a:gd name="T8" fmla="*/ 0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2" y="2"/>
                    <a:pt x="3" y="3"/>
                    <a:pt x="3" y="2"/>
                  </a:cubicBezTo>
                  <a:cubicBezTo>
                    <a:pt x="3" y="2"/>
                    <a:pt x="2" y="2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9" name="Freeform 122">
              <a:extLst>
                <a:ext uri="{FF2B5EF4-FFF2-40B4-BE49-F238E27FC236}">
                  <a16:creationId xmlns:a16="http://schemas.microsoft.com/office/drawing/2014/main" id="{62460545-B3BE-48F8-9DD8-8E2F81EEC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" y="3953"/>
              <a:ext cx="9" cy="5"/>
            </a:xfrm>
            <a:custGeom>
              <a:avLst/>
              <a:gdLst>
                <a:gd name="T0" fmla="*/ 0 w 4"/>
                <a:gd name="T1" fmla="*/ 1 h 2"/>
                <a:gd name="T2" fmla="*/ 2 w 4"/>
                <a:gd name="T3" fmla="*/ 1 h 2"/>
                <a:gd name="T4" fmla="*/ 4 w 4"/>
                <a:gd name="T5" fmla="*/ 2 h 2"/>
                <a:gd name="T6" fmla="*/ 2 w 4"/>
                <a:gd name="T7" fmla="*/ 1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0" name="Freeform 123">
              <a:extLst>
                <a:ext uri="{FF2B5EF4-FFF2-40B4-BE49-F238E27FC236}">
                  <a16:creationId xmlns:a16="http://schemas.microsoft.com/office/drawing/2014/main" id="{03AE5469-08DF-41F2-A9F6-4C147B19F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3953"/>
              <a:ext cx="5" cy="2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1" name="Freeform 124">
              <a:extLst>
                <a:ext uri="{FF2B5EF4-FFF2-40B4-BE49-F238E27FC236}">
                  <a16:creationId xmlns:a16="http://schemas.microsoft.com/office/drawing/2014/main" id="{7D537669-EFB2-4E74-9B2F-145F2BB69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3784"/>
              <a:ext cx="200" cy="240"/>
            </a:xfrm>
            <a:custGeom>
              <a:avLst/>
              <a:gdLst>
                <a:gd name="T0" fmla="*/ 54 w 84"/>
                <a:gd name="T1" fmla="*/ 61 h 101"/>
                <a:gd name="T2" fmla="*/ 73 w 84"/>
                <a:gd name="T3" fmla="*/ 37 h 101"/>
                <a:gd name="T4" fmla="*/ 29 w 84"/>
                <a:gd name="T5" fmla="*/ 0 h 101"/>
                <a:gd name="T6" fmla="*/ 0 w 84"/>
                <a:gd name="T7" fmla="*/ 35 h 101"/>
                <a:gd name="T8" fmla="*/ 3 w 84"/>
                <a:gd name="T9" fmla="*/ 37 h 101"/>
                <a:gd name="T10" fmla="*/ 73 w 84"/>
                <a:gd name="T11" fmla="*/ 96 h 101"/>
                <a:gd name="T12" fmla="*/ 54 w 84"/>
                <a:gd name="T13" fmla="*/ 6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01">
                  <a:moveTo>
                    <a:pt x="54" y="61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14" y="48"/>
                    <a:pt x="63" y="91"/>
                    <a:pt x="73" y="96"/>
                  </a:cubicBezTo>
                  <a:cubicBezTo>
                    <a:pt x="84" y="101"/>
                    <a:pt x="54" y="61"/>
                    <a:pt x="54" y="61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2" name="Freeform 125">
              <a:extLst>
                <a:ext uri="{FF2B5EF4-FFF2-40B4-BE49-F238E27FC236}">
                  <a16:creationId xmlns:a16="http://schemas.microsoft.com/office/drawing/2014/main" id="{246973A4-83CD-41E1-9C2A-4C9F573A0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3836"/>
              <a:ext cx="46" cy="60"/>
            </a:xfrm>
            <a:custGeom>
              <a:avLst/>
              <a:gdLst>
                <a:gd name="T0" fmla="*/ 10 w 19"/>
                <a:gd name="T1" fmla="*/ 0 h 25"/>
                <a:gd name="T2" fmla="*/ 0 w 19"/>
                <a:gd name="T3" fmla="*/ 12 h 25"/>
                <a:gd name="T4" fmla="*/ 0 w 19"/>
                <a:gd name="T5" fmla="*/ 12 h 25"/>
                <a:gd name="T6" fmla="*/ 16 w 19"/>
                <a:gd name="T7" fmla="*/ 25 h 25"/>
                <a:gd name="T8" fmla="*/ 18 w 19"/>
                <a:gd name="T9" fmla="*/ 12 h 25"/>
                <a:gd name="T10" fmla="*/ 10 w 19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5">
                  <a:moveTo>
                    <a:pt x="1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8" y="21"/>
                    <a:pt x="19" y="16"/>
                    <a:pt x="18" y="12"/>
                  </a:cubicBezTo>
                  <a:cubicBezTo>
                    <a:pt x="17" y="7"/>
                    <a:pt x="14" y="3"/>
                    <a:pt x="10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3" name="Freeform 126">
              <a:extLst>
                <a:ext uri="{FF2B5EF4-FFF2-40B4-BE49-F238E27FC236}">
                  <a16:creationId xmlns:a16="http://schemas.microsoft.com/office/drawing/2014/main" id="{3738CE04-7897-4A1E-84FF-13CA47E56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" y="3891"/>
              <a:ext cx="71" cy="64"/>
            </a:xfrm>
            <a:custGeom>
              <a:avLst/>
              <a:gdLst>
                <a:gd name="T0" fmla="*/ 0 w 30"/>
                <a:gd name="T1" fmla="*/ 0 h 27"/>
                <a:gd name="T2" fmla="*/ 0 w 30"/>
                <a:gd name="T3" fmla="*/ 0 h 27"/>
                <a:gd name="T4" fmla="*/ 30 w 30"/>
                <a:gd name="T5" fmla="*/ 27 h 27"/>
                <a:gd name="T6" fmla="*/ 0 w 30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8"/>
                    <a:pt x="20" y="18"/>
                    <a:pt x="30" y="27"/>
                  </a:cubicBezTo>
                  <a:cubicBezTo>
                    <a:pt x="19" y="17"/>
                    <a:pt x="8" y="7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4" name="Freeform 127">
              <a:extLst>
                <a:ext uri="{FF2B5EF4-FFF2-40B4-BE49-F238E27FC236}">
                  <a16:creationId xmlns:a16="http://schemas.microsoft.com/office/drawing/2014/main" id="{86C58657-5CF2-4E36-B90B-671CBACB5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3867"/>
              <a:ext cx="26" cy="24"/>
            </a:xfrm>
            <a:custGeom>
              <a:avLst/>
              <a:gdLst>
                <a:gd name="T0" fmla="*/ 0 w 11"/>
                <a:gd name="T1" fmla="*/ 0 h 10"/>
                <a:gd name="T2" fmla="*/ 11 w 11"/>
                <a:gd name="T3" fmla="*/ 10 h 10"/>
                <a:gd name="T4" fmla="*/ 11 w 11"/>
                <a:gd name="T5" fmla="*/ 10 h 10"/>
                <a:gd name="T6" fmla="*/ 3 w 11"/>
                <a:gd name="T7" fmla="*/ 2 h 10"/>
                <a:gd name="T8" fmla="*/ 0 w 11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0" y="0"/>
                  </a:moveTo>
                  <a:cubicBezTo>
                    <a:pt x="3" y="3"/>
                    <a:pt x="7" y="6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7" y="7"/>
                    <a:pt x="5" y="4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5" name="Freeform 128">
              <a:extLst>
                <a:ext uri="{FF2B5EF4-FFF2-40B4-BE49-F238E27FC236}">
                  <a16:creationId xmlns:a16="http://schemas.microsoft.com/office/drawing/2014/main" id="{899AC3F7-7441-4913-A8C8-72DF6BE218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3" y="3977"/>
              <a:ext cx="16" cy="38"/>
            </a:xfrm>
            <a:custGeom>
              <a:avLst/>
              <a:gdLst>
                <a:gd name="T0" fmla="*/ 7 w 7"/>
                <a:gd name="T1" fmla="*/ 14 h 16"/>
                <a:gd name="T2" fmla="*/ 6 w 7"/>
                <a:gd name="T3" fmla="*/ 15 h 16"/>
                <a:gd name="T4" fmla="*/ 5 w 7"/>
                <a:gd name="T5" fmla="*/ 15 h 16"/>
                <a:gd name="T6" fmla="*/ 4 w 7"/>
                <a:gd name="T7" fmla="*/ 15 h 16"/>
                <a:gd name="T8" fmla="*/ 7 w 7"/>
                <a:gd name="T9" fmla="*/ 16 h 16"/>
                <a:gd name="T10" fmla="*/ 7 w 7"/>
                <a:gd name="T11" fmla="*/ 15 h 16"/>
                <a:gd name="T12" fmla="*/ 7 w 7"/>
                <a:gd name="T13" fmla="*/ 14 h 16"/>
                <a:gd name="T14" fmla="*/ 0 w 7"/>
                <a:gd name="T15" fmla="*/ 0 h 16"/>
                <a:gd name="T16" fmla="*/ 2 w 7"/>
                <a:gd name="T17" fmla="*/ 3 h 16"/>
                <a:gd name="T18" fmla="*/ 0 w 7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6">
                  <a:moveTo>
                    <a:pt x="7" y="14"/>
                  </a:moveTo>
                  <a:cubicBezTo>
                    <a:pt x="7" y="15"/>
                    <a:pt x="7" y="15"/>
                    <a:pt x="6" y="15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4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7" y="16"/>
                    <a:pt x="7" y="16"/>
                    <a:pt x="7" y="15"/>
                  </a:cubicBezTo>
                  <a:cubicBezTo>
                    <a:pt x="7" y="15"/>
                    <a:pt x="7" y="15"/>
                    <a:pt x="7" y="14"/>
                  </a:cubicBezTo>
                  <a:moveTo>
                    <a:pt x="0" y="0"/>
                  </a:moveTo>
                  <a:cubicBezTo>
                    <a:pt x="1" y="1"/>
                    <a:pt x="2" y="2"/>
                    <a:pt x="2" y="3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6" name="Freeform 129">
              <a:extLst>
                <a:ext uri="{FF2B5EF4-FFF2-40B4-BE49-F238E27FC236}">
                  <a16:creationId xmlns:a16="http://schemas.microsoft.com/office/drawing/2014/main" id="{0754AFF7-3EF0-4CCC-838B-8243F0026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3865"/>
              <a:ext cx="178" cy="147"/>
            </a:xfrm>
            <a:custGeom>
              <a:avLst/>
              <a:gdLst>
                <a:gd name="T0" fmla="*/ 1 w 75"/>
                <a:gd name="T1" fmla="*/ 0 h 62"/>
                <a:gd name="T2" fmla="*/ 0 w 75"/>
                <a:gd name="T3" fmla="*/ 1 h 62"/>
                <a:gd name="T4" fmla="*/ 0 w 75"/>
                <a:gd name="T5" fmla="*/ 1 h 62"/>
                <a:gd name="T6" fmla="*/ 3 w 75"/>
                <a:gd name="T7" fmla="*/ 3 h 62"/>
                <a:gd name="T8" fmla="*/ 11 w 75"/>
                <a:gd name="T9" fmla="*/ 11 h 62"/>
                <a:gd name="T10" fmla="*/ 41 w 75"/>
                <a:gd name="T11" fmla="*/ 38 h 62"/>
                <a:gd name="T12" fmla="*/ 72 w 75"/>
                <a:gd name="T13" fmla="*/ 62 h 62"/>
                <a:gd name="T14" fmla="*/ 73 w 75"/>
                <a:gd name="T15" fmla="*/ 62 h 62"/>
                <a:gd name="T16" fmla="*/ 74 w 75"/>
                <a:gd name="T17" fmla="*/ 62 h 62"/>
                <a:gd name="T18" fmla="*/ 75 w 75"/>
                <a:gd name="T19" fmla="*/ 61 h 62"/>
                <a:gd name="T20" fmla="*/ 70 w 75"/>
                <a:gd name="T21" fmla="*/ 50 h 62"/>
                <a:gd name="T22" fmla="*/ 68 w 75"/>
                <a:gd name="T23" fmla="*/ 47 h 62"/>
                <a:gd name="T24" fmla="*/ 68 w 75"/>
                <a:gd name="T25" fmla="*/ 47 h 62"/>
                <a:gd name="T26" fmla="*/ 66 w 75"/>
                <a:gd name="T27" fmla="*/ 46 h 62"/>
                <a:gd name="T28" fmla="*/ 59 w 75"/>
                <a:gd name="T29" fmla="*/ 49 h 62"/>
                <a:gd name="T30" fmla="*/ 17 w 75"/>
                <a:gd name="T31" fmla="*/ 13 h 62"/>
                <a:gd name="T32" fmla="*/ 16 w 75"/>
                <a:gd name="T33" fmla="*/ 14 h 62"/>
                <a:gd name="T34" fmla="*/ 1 w 75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" h="62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5" y="5"/>
                    <a:pt x="7" y="8"/>
                    <a:pt x="11" y="11"/>
                  </a:cubicBezTo>
                  <a:cubicBezTo>
                    <a:pt x="19" y="18"/>
                    <a:pt x="30" y="28"/>
                    <a:pt x="41" y="38"/>
                  </a:cubicBezTo>
                  <a:cubicBezTo>
                    <a:pt x="55" y="49"/>
                    <a:pt x="67" y="59"/>
                    <a:pt x="72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4" y="62"/>
                    <a:pt x="74" y="62"/>
                  </a:cubicBezTo>
                  <a:cubicBezTo>
                    <a:pt x="75" y="62"/>
                    <a:pt x="75" y="62"/>
                    <a:pt x="75" y="61"/>
                  </a:cubicBezTo>
                  <a:cubicBezTo>
                    <a:pt x="75" y="59"/>
                    <a:pt x="72" y="54"/>
                    <a:pt x="70" y="50"/>
                  </a:cubicBezTo>
                  <a:cubicBezTo>
                    <a:pt x="70" y="49"/>
                    <a:pt x="69" y="48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8" y="47"/>
                    <a:pt x="67" y="46"/>
                    <a:pt x="66" y="46"/>
                  </a:cubicBezTo>
                  <a:cubicBezTo>
                    <a:pt x="63" y="46"/>
                    <a:pt x="59" y="49"/>
                    <a:pt x="59" y="49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7" name="Freeform 130">
              <a:extLst>
                <a:ext uri="{FF2B5EF4-FFF2-40B4-BE49-F238E27FC236}">
                  <a16:creationId xmlns:a16="http://schemas.microsoft.com/office/drawing/2014/main" id="{1B8D7D91-DDBE-44E4-B7E7-9A9A2DDE6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3865"/>
              <a:ext cx="38" cy="33"/>
            </a:xfrm>
            <a:custGeom>
              <a:avLst/>
              <a:gdLst>
                <a:gd name="T0" fmla="*/ 0 w 16"/>
                <a:gd name="T1" fmla="*/ 0 h 14"/>
                <a:gd name="T2" fmla="*/ 0 w 16"/>
                <a:gd name="T3" fmla="*/ 0 h 14"/>
                <a:gd name="T4" fmla="*/ 15 w 16"/>
                <a:gd name="T5" fmla="*/ 14 h 14"/>
                <a:gd name="T6" fmla="*/ 16 w 16"/>
                <a:gd name="T7" fmla="*/ 13 h 14"/>
                <a:gd name="T8" fmla="*/ 0 w 1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4"/>
                    <a:pt x="16" y="13"/>
                    <a:pt x="16" y="1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8CB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8" name="Freeform 131">
              <a:extLst>
                <a:ext uri="{FF2B5EF4-FFF2-40B4-BE49-F238E27FC236}">
                  <a16:creationId xmlns:a16="http://schemas.microsoft.com/office/drawing/2014/main" id="{481A920C-B43D-4A5F-83A2-8CE911EB4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3863"/>
              <a:ext cx="178" cy="149"/>
            </a:xfrm>
            <a:custGeom>
              <a:avLst/>
              <a:gdLst>
                <a:gd name="T0" fmla="*/ 0 w 75"/>
                <a:gd name="T1" fmla="*/ 0 h 63"/>
                <a:gd name="T2" fmla="*/ 1 w 75"/>
                <a:gd name="T3" fmla="*/ 1 h 63"/>
                <a:gd name="T4" fmla="*/ 3 w 75"/>
                <a:gd name="T5" fmla="*/ 3 h 63"/>
                <a:gd name="T6" fmla="*/ 11 w 75"/>
                <a:gd name="T7" fmla="*/ 10 h 63"/>
                <a:gd name="T8" fmla="*/ 37 w 75"/>
                <a:gd name="T9" fmla="*/ 32 h 63"/>
                <a:gd name="T10" fmla="*/ 64 w 75"/>
                <a:gd name="T11" fmla="*/ 54 h 63"/>
                <a:gd name="T12" fmla="*/ 72 w 75"/>
                <a:gd name="T13" fmla="*/ 61 h 63"/>
                <a:gd name="T14" fmla="*/ 74 w 75"/>
                <a:gd name="T15" fmla="*/ 62 h 63"/>
                <a:gd name="T16" fmla="*/ 75 w 75"/>
                <a:gd name="T17" fmla="*/ 63 h 63"/>
                <a:gd name="T18" fmla="*/ 75 w 75"/>
                <a:gd name="T19" fmla="*/ 62 h 63"/>
                <a:gd name="T20" fmla="*/ 72 w 75"/>
                <a:gd name="T21" fmla="*/ 60 h 63"/>
                <a:gd name="T22" fmla="*/ 64 w 75"/>
                <a:gd name="T23" fmla="*/ 54 h 63"/>
                <a:gd name="T24" fmla="*/ 37 w 75"/>
                <a:gd name="T25" fmla="*/ 32 h 63"/>
                <a:gd name="T26" fmla="*/ 11 w 75"/>
                <a:gd name="T27" fmla="*/ 10 h 63"/>
                <a:gd name="T28" fmla="*/ 3 w 75"/>
                <a:gd name="T29" fmla="*/ 3 h 63"/>
                <a:gd name="T30" fmla="*/ 1 w 75"/>
                <a:gd name="T31" fmla="*/ 1 h 63"/>
                <a:gd name="T32" fmla="*/ 0 w 75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" h="63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2" y="1"/>
                    <a:pt x="2" y="2"/>
                    <a:pt x="3" y="3"/>
                  </a:cubicBezTo>
                  <a:cubicBezTo>
                    <a:pt x="5" y="5"/>
                    <a:pt x="8" y="7"/>
                    <a:pt x="11" y="10"/>
                  </a:cubicBezTo>
                  <a:cubicBezTo>
                    <a:pt x="17" y="16"/>
                    <a:pt x="27" y="24"/>
                    <a:pt x="37" y="32"/>
                  </a:cubicBezTo>
                  <a:cubicBezTo>
                    <a:pt x="47" y="41"/>
                    <a:pt x="57" y="49"/>
                    <a:pt x="64" y="54"/>
                  </a:cubicBezTo>
                  <a:cubicBezTo>
                    <a:pt x="67" y="57"/>
                    <a:pt x="70" y="59"/>
                    <a:pt x="72" y="61"/>
                  </a:cubicBezTo>
                  <a:cubicBezTo>
                    <a:pt x="73" y="61"/>
                    <a:pt x="74" y="62"/>
                    <a:pt x="74" y="62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2"/>
                  </a:cubicBezTo>
                  <a:cubicBezTo>
                    <a:pt x="74" y="62"/>
                    <a:pt x="73" y="61"/>
                    <a:pt x="72" y="60"/>
                  </a:cubicBezTo>
                  <a:cubicBezTo>
                    <a:pt x="70" y="59"/>
                    <a:pt x="67" y="56"/>
                    <a:pt x="64" y="54"/>
                  </a:cubicBezTo>
                  <a:cubicBezTo>
                    <a:pt x="57" y="48"/>
                    <a:pt x="48" y="41"/>
                    <a:pt x="37" y="32"/>
                  </a:cubicBezTo>
                  <a:cubicBezTo>
                    <a:pt x="27" y="23"/>
                    <a:pt x="18" y="15"/>
                    <a:pt x="11" y="10"/>
                  </a:cubicBezTo>
                  <a:cubicBezTo>
                    <a:pt x="8" y="7"/>
                    <a:pt x="5" y="5"/>
                    <a:pt x="3" y="3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9" name="Freeform 132">
              <a:extLst>
                <a:ext uri="{FF2B5EF4-FFF2-40B4-BE49-F238E27FC236}">
                  <a16:creationId xmlns:a16="http://schemas.microsoft.com/office/drawing/2014/main" id="{8A8A8065-0BC9-4EC0-B3F8-C70C5ED20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1" y="3974"/>
              <a:ext cx="24" cy="10"/>
            </a:xfrm>
            <a:custGeom>
              <a:avLst/>
              <a:gdLst>
                <a:gd name="T0" fmla="*/ 0 w 10"/>
                <a:gd name="T1" fmla="*/ 4 h 4"/>
                <a:gd name="T2" fmla="*/ 5 w 10"/>
                <a:gd name="T3" fmla="*/ 1 h 4"/>
                <a:gd name="T4" fmla="*/ 10 w 10"/>
                <a:gd name="T5" fmla="*/ 1 h 4"/>
                <a:gd name="T6" fmla="*/ 4 w 10"/>
                <a:gd name="T7" fmla="*/ 1 h 4"/>
                <a:gd name="T8" fmla="*/ 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cubicBezTo>
                    <a:pt x="0" y="4"/>
                    <a:pt x="2" y="2"/>
                    <a:pt x="5" y="1"/>
                  </a:cubicBezTo>
                  <a:cubicBezTo>
                    <a:pt x="7" y="0"/>
                    <a:pt x="10" y="1"/>
                    <a:pt x="10" y="1"/>
                  </a:cubicBezTo>
                  <a:cubicBezTo>
                    <a:pt x="10" y="1"/>
                    <a:pt x="7" y="0"/>
                    <a:pt x="4" y="1"/>
                  </a:cubicBezTo>
                  <a:cubicBezTo>
                    <a:pt x="1" y="2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0" name="Freeform 133">
              <a:extLst>
                <a:ext uri="{FF2B5EF4-FFF2-40B4-BE49-F238E27FC236}">
                  <a16:creationId xmlns:a16="http://schemas.microsoft.com/office/drawing/2014/main" id="{6228A3CC-8D3A-4385-94B5-4A28329A0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2" y="3939"/>
              <a:ext cx="14" cy="4"/>
            </a:xfrm>
            <a:custGeom>
              <a:avLst/>
              <a:gdLst>
                <a:gd name="T0" fmla="*/ 0 w 6"/>
                <a:gd name="T1" fmla="*/ 2 h 2"/>
                <a:gd name="T2" fmla="*/ 3 w 6"/>
                <a:gd name="T3" fmla="*/ 1 h 2"/>
                <a:gd name="T4" fmla="*/ 6 w 6"/>
                <a:gd name="T5" fmla="*/ 0 h 2"/>
                <a:gd name="T6" fmla="*/ 3 w 6"/>
                <a:gd name="T7" fmla="*/ 0 h 2"/>
                <a:gd name="T8" fmla="*/ 0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0" y="2"/>
                    <a:pt x="2" y="1"/>
                    <a:pt x="3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1" name="Freeform 134">
              <a:extLst>
                <a:ext uri="{FF2B5EF4-FFF2-40B4-BE49-F238E27FC236}">
                  <a16:creationId xmlns:a16="http://schemas.microsoft.com/office/drawing/2014/main" id="{2676E8A6-0B14-4B6F-9A90-DEBE2840F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7" y="3929"/>
              <a:ext cx="12" cy="2"/>
            </a:xfrm>
            <a:custGeom>
              <a:avLst/>
              <a:gdLst>
                <a:gd name="T0" fmla="*/ 0 w 5"/>
                <a:gd name="T1" fmla="*/ 1 h 1"/>
                <a:gd name="T2" fmla="*/ 3 w 5"/>
                <a:gd name="T3" fmla="*/ 1 h 1"/>
                <a:gd name="T4" fmla="*/ 5 w 5"/>
                <a:gd name="T5" fmla="*/ 0 h 1"/>
                <a:gd name="T6" fmla="*/ 3 w 5"/>
                <a:gd name="T7" fmla="*/ 0 h 1"/>
                <a:gd name="T8" fmla="*/ 0 w 5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1"/>
                  </a:moveTo>
                  <a:cubicBezTo>
                    <a:pt x="0" y="1"/>
                    <a:pt x="1" y="1"/>
                    <a:pt x="3" y="1"/>
                  </a:cubicBezTo>
                  <a:cubicBezTo>
                    <a:pt x="4" y="1"/>
                    <a:pt x="5" y="1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2" name="Freeform 135">
              <a:extLst>
                <a:ext uri="{FF2B5EF4-FFF2-40B4-BE49-F238E27FC236}">
                  <a16:creationId xmlns:a16="http://schemas.microsoft.com/office/drawing/2014/main" id="{6B51C03E-2819-49F4-A994-4791DEF51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" y="3915"/>
              <a:ext cx="12" cy="12"/>
            </a:xfrm>
            <a:custGeom>
              <a:avLst/>
              <a:gdLst>
                <a:gd name="T0" fmla="*/ 1 w 5"/>
                <a:gd name="T1" fmla="*/ 1 h 5"/>
                <a:gd name="T2" fmla="*/ 3 w 5"/>
                <a:gd name="T3" fmla="*/ 3 h 5"/>
                <a:gd name="T4" fmla="*/ 5 w 5"/>
                <a:gd name="T5" fmla="*/ 5 h 5"/>
                <a:gd name="T6" fmla="*/ 3 w 5"/>
                <a:gd name="T7" fmla="*/ 2 h 5"/>
                <a:gd name="T8" fmla="*/ 1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1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4"/>
                    <a:pt x="4" y="3"/>
                    <a:pt x="3" y="2"/>
                  </a:cubicBezTo>
                  <a:cubicBezTo>
                    <a:pt x="2" y="1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3" name="Freeform 136">
              <a:extLst>
                <a:ext uri="{FF2B5EF4-FFF2-40B4-BE49-F238E27FC236}">
                  <a16:creationId xmlns:a16="http://schemas.microsoft.com/office/drawing/2014/main" id="{915ED50B-7024-4339-9529-DE747CF5F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" y="3908"/>
              <a:ext cx="11" cy="12"/>
            </a:xfrm>
            <a:custGeom>
              <a:avLst/>
              <a:gdLst>
                <a:gd name="T0" fmla="*/ 0 w 5"/>
                <a:gd name="T1" fmla="*/ 0 h 5"/>
                <a:gd name="T2" fmla="*/ 2 w 5"/>
                <a:gd name="T3" fmla="*/ 3 h 5"/>
                <a:gd name="T4" fmla="*/ 5 w 5"/>
                <a:gd name="T5" fmla="*/ 5 h 5"/>
                <a:gd name="T6" fmla="*/ 3 w 5"/>
                <a:gd name="T7" fmla="*/ 2 h 5"/>
                <a:gd name="T8" fmla="*/ 0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cubicBezTo>
                    <a:pt x="0" y="0"/>
                    <a:pt x="1" y="2"/>
                    <a:pt x="2" y="3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5"/>
                    <a:pt x="4" y="4"/>
                    <a:pt x="3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4" name="Freeform 137">
              <a:extLst>
                <a:ext uri="{FF2B5EF4-FFF2-40B4-BE49-F238E27FC236}">
                  <a16:creationId xmlns:a16="http://schemas.microsoft.com/office/drawing/2014/main" id="{CD489F37-A069-443D-95B6-FB0CA8991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" y="3934"/>
              <a:ext cx="26" cy="14"/>
            </a:xfrm>
            <a:custGeom>
              <a:avLst/>
              <a:gdLst>
                <a:gd name="T0" fmla="*/ 0 w 11"/>
                <a:gd name="T1" fmla="*/ 1 h 6"/>
                <a:gd name="T2" fmla="*/ 3 w 11"/>
                <a:gd name="T3" fmla="*/ 3 h 6"/>
                <a:gd name="T4" fmla="*/ 6 w 11"/>
                <a:gd name="T5" fmla="*/ 5 h 6"/>
                <a:gd name="T6" fmla="*/ 9 w 11"/>
                <a:gd name="T7" fmla="*/ 6 h 6"/>
                <a:gd name="T8" fmla="*/ 10 w 11"/>
                <a:gd name="T9" fmla="*/ 6 h 6"/>
                <a:gd name="T10" fmla="*/ 11 w 11"/>
                <a:gd name="T11" fmla="*/ 4 h 6"/>
                <a:gd name="T12" fmla="*/ 3 w 11"/>
                <a:gd name="T13" fmla="*/ 0 h 6"/>
                <a:gd name="T14" fmla="*/ 1 w 11"/>
                <a:gd name="T15" fmla="*/ 1 h 6"/>
                <a:gd name="T16" fmla="*/ 0 w 11"/>
                <a:gd name="T17" fmla="*/ 2 h 6"/>
                <a:gd name="T18" fmla="*/ 3 w 11"/>
                <a:gd name="T19" fmla="*/ 1 h 6"/>
                <a:gd name="T20" fmla="*/ 7 w 11"/>
                <a:gd name="T21" fmla="*/ 1 h 6"/>
                <a:gd name="T22" fmla="*/ 10 w 11"/>
                <a:gd name="T23" fmla="*/ 4 h 6"/>
                <a:gd name="T24" fmla="*/ 9 w 11"/>
                <a:gd name="T25" fmla="*/ 5 h 6"/>
                <a:gd name="T26" fmla="*/ 7 w 11"/>
                <a:gd name="T27" fmla="*/ 5 h 6"/>
                <a:gd name="T28" fmla="*/ 3 w 11"/>
                <a:gd name="T29" fmla="*/ 3 h 6"/>
                <a:gd name="T30" fmla="*/ 0 w 11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6">
                  <a:moveTo>
                    <a:pt x="0" y="1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4" y="4"/>
                    <a:pt x="5" y="5"/>
                    <a:pt x="6" y="5"/>
                  </a:cubicBezTo>
                  <a:cubicBezTo>
                    <a:pt x="7" y="5"/>
                    <a:pt x="8" y="6"/>
                    <a:pt x="9" y="6"/>
                  </a:cubicBezTo>
                  <a:cubicBezTo>
                    <a:pt x="9" y="6"/>
                    <a:pt x="10" y="6"/>
                    <a:pt x="10" y="6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9" y="0"/>
                    <a:pt x="5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4" y="1"/>
                    <a:pt x="6" y="1"/>
                    <a:pt x="7" y="1"/>
                  </a:cubicBezTo>
                  <a:cubicBezTo>
                    <a:pt x="8" y="2"/>
                    <a:pt x="10" y="3"/>
                    <a:pt x="10" y="4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1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5" name="Freeform 138">
              <a:extLst>
                <a:ext uri="{FF2B5EF4-FFF2-40B4-BE49-F238E27FC236}">
                  <a16:creationId xmlns:a16="http://schemas.microsoft.com/office/drawing/2014/main" id="{90AB3CF4-E802-46AC-B8A5-803BB5687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" y="3917"/>
              <a:ext cx="10" cy="22"/>
            </a:xfrm>
            <a:custGeom>
              <a:avLst/>
              <a:gdLst>
                <a:gd name="T0" fmla="*/ 1 w 4"/>
                <a:gd name="T1" fmla="*/ 9 h 9"/>
                <a:gd name="T2" fmla="*/ 3 w 4"/>
                <a:gd name="T3" fmla="*/ 7 h 9"/>
                <a:gd name="T4" fmla="*/ 4 w 4"/>
                <a:gd name="T5" fmla="*/ 4 h 9"/>
                <a:gd name="T6" fmla="*/ 2 w 4"/>
                <a:gd name="T7" fmla="*/ 1 h 9"/>
                <a:gd name="T8" fmla="*/ 0 w 4"/>
                <a:gd name="T9" fmla="*/ 1 h 9"/>
                <a:gd name="T10" fmla="*/ 0 w 4"/>
                <a:gd name="T11" fmla="*/ 3 h 9"/>
                <a:gd name="T12" fmla="*/ 0 w 4"/>
                <a:gd name="T13" fmla="*/ 6 h 9"/>
                <a:gd name="T14" fmla="*/ 0 w 4"/>
                <a:gd name="T15" fmla="*/ 8 h 9"/>
                <a:gd name="T16" fmla="*/ 0 w 4"/>
                <a:gd name="T17" fmla="*/ 6 h 9"/>
                <a:gd name="T18" fmla="*/ 1 w 4"/>
                <a:gd name="T19" fmla="*/ 3 h 9"/>
                <a:gd name="T20" fmla="*/ 2 w 4"/>
                <a:gd name="T21" fmla="*/ 1 h 9"/>
                <a:gd name="T22" fmla="*/ 3 w 4"/>
                <a:gd name="T23" fmla="*/ 4 h 9"/>
                <a:gd name="T24" fmla="*/ 2 w 4"/>
                <a:gd name="T25" fmla="*/ 7 h 9"/>
                <a:gd name="T26" fmla="*/ 1 w 4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9">
                  <a:moveTo>
                    <a:pt x="1" y="9"/>
                  </a:moveTo>
                  <a:cubicBezTo>
                    <a:pt x="1" y="9"/>
                    <a:pt x="2" y="8"/>
                    <a:pt x="3" y="7"/>
                  </a:cubicBezTo>
                  <a:cubicBezTo>
                    <a:pt x="3" y="6"/>
                    <a:pt x="3" y="5"/>
                    <a:pt x="4" y="4"/>
                  </a:cubicBezTo>
                  <a:cubicBezTo>
                    <a:pt x="4" y="3"/>
                    <a:pt x="4" y="2"/>
                    <a:pt x="2" y="1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3" y="5"/>
                    <a:pt x="3" y="6"/>
                    <a:pt x="2" y="7"/>
                  </a:cubicBezTo>
                  <a:cubicBezTo>
                    <a:pt x="1" y="8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6" name="Freeform 139">
              <a:extLst>
                <a:ext uri="{FF2B5EF4-FFF2-40B4-BE49-F238E27FC236}">
                  <a16:creationId xmlns:a16="http://schemas.microsoft.com/office/drawing/2014/main" id="{865504FF-CE97-43E9-AC62-13A608BAD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" y="3836"/>
              <a:ext cx="24" cy="60"/>
            </a:xfrm>
            <a:custGeom>
              <a:avLst/>
              <a:gdLst>
                <a:gd name="T0" fmla="*/ 0 w 10"/>
                <a:gd name="T1" fmla="*/ 0 h 25"/>
                <a:gd name="T2" fmla="*/ 3 w 10"/>
                <a:gd name="T3" fmla="*/ 3 h 25"/>
                <a:gd name="T4" fmla="*/ 8 w 10"/>
                <a:gd name="T5" fmla="*/ 12 h 25"/>
                <a:gd name="T6" fmla="*/ 7 w 10"/>
                <a:gd name="T7" fmla="*/ 22 h 25"/>
                <a:gd name="T8" fmla="*/ 6 w 10"/>
                <a:gd name="T9" fmla="*/ 25 h 25"/>
                <a:gd name="T10" fmla="*/ 6 w 10"/>
                <a:gd name="T11" fmla="*/ 25 h 25"/>
                <a:gd name="T12" fmla="*/ 8 w 10"/>
                <a:gd name="T13" fmla="*/ 22 h 25"/>
                <a:gd name="T14" fmla="*/ 9 w 10"/>
                <a:gd name="T15" fmla="*/ 11 h 25"/>
                <a:gd name="T16" fmla="*/ 4 w 10"/>
                <a:gd name="T17" fmla="*/ 2 h 25"/>
                <a:gd name="T18" fmla="*/ 1 w 10"/>
                <a:gd name="T19" fmla="*/ 0 h 25"/>
                <a:gd name="T20" fmla="*/ 0 w 10"/>
                <a:gd name="T2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5">
                  <a:moveTo>
                    <a:pt x="0" y="0"/>
                  </a:moveTo>
                  <a:cubicBezTo>
                    <a:pt x="0" y="0"/>
                    <a:pt x="2" y="1"/>
                    <a:pt x="3" y="3"/>
                  </a:cubicBezTo>
                  <a:cubicBezTo>
                    <a:pt x="5" y="5"/>
                    <a:pt x="7" y="8"/>
                    <a:pt x="8" y="12"/>
                  </a:cubicBezTo>
                  <a:cubicBezTo>
                    <a:pt x="9" y="15"/>
                    <a:pt x="8" y="19"/>
                    <a:pt x="7" y="22"/>
                  </a:cubicBezTo>
                  <a:cubicBezTo>
                    <a:pt x="6" y="24"/>
                    <a:pt x="5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4"/>
                    <a:pt x="7" y="23"/>
                    <a:pt x="8" y="22"/>
                  </a:cubicBezTo>
                  <a:cubicBezTo>
                    <a:pt x="9" y="19"/>
                    <a:pt x="10" y="15"/>
                    <a:pt x="9" y="11"/>
                  </a:cubicBezTo>
                  <a:cubicBezTo>
                    <a:pt x="8" y="7"/>
                    <a:pt x="6" y="4"/>
                    <a:pt x="4" y="2"/>
                  </a:cubicBezTo>
                  <a:cubicBezTo>
                    <a:pt x="3" y="1"/>
                    <a:pt x="2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7" name="Freeform 140">
              <a:extLst>
                <a:ext uri="{FF2B5EF4-FFF2-40B4-BE49-F238E27FC236}">
                  <a16:creationId xmlns:a16="http://schemas.microsoft.com/office/drawing/2014/main" id="{DE5381F1-F148-46F8-BACE-57D310B37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3801"/>
              <a:ext cx="36" cy="43"/>
            </a:xfrm>
            <a:custGeom>
              <a:avLst/>
              <a:gdLst>
                <a:gd name="T0" fmla="*/ 15 w 15"/>
                <a:gd name="T1" fmla="*/ 0 h 18"/>
                <a:gd name="T2" fmla="*/ 7 w 15"/>
                <a:gd name="T3" fmla="*/ 9 h 18"/>
                <a:gd name="T4" fmla="*/ 0 w 15"/>
                <a:gd name="T5" fmla="*/ 18 h 18"/>
                <a:gd name="T6" fmla="*/ 8 w 15"/>
                <a:gd name="T7" fmla="*/ 9 h 18"/>
                <a:gd name="T8" fmla="*/ 15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15" y="0"/>
                  </a:moveTo>
                  <a:cubicBezTo>
                    <a:pt x="15" y="0"/>
                    <a:pt x="12" y="4"/>
                    <a:pt x="7" y="9"/>
                  </a:cubicBezTo>
                  <a:cubicBezTo>
                    <a:pt x="3" y="14"/>
                    <a:pt x="0" y="18"/>
                    <a:pt x="0" y="18"/>
                  </a:cubicBezTo>
                  <a:cubicBezTo>
                    <a:pt x="0" y="18"/>
                    <a:pt x="4" y="14"/>
                    <a:pt x="8" y="9"/>
                  </a:cubicBezTo>
                  <a:cubicBezTo>
                    <a:pt x="12" y="5"/>
                    <a:pt x="15" y="0"/>
                    <a:pt x="1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8" name="Freeform 141">
              <a:extLst>
                <a:ext uri="{FF2B5EF4-FFF2-40B4-BE49-F238E27FC236}">
                  <a16:creationId xmlns:a16="http://schemas.microsoft.com/office/drawing/2014/main" id="{3E0296AB-FE9C-4382-BBAE-54EAC0ADD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" y="3898"/>
              <a:ext cx="34" cy="26"/>
            </a:xfrm>
            <a:custGeom>
              <a:avLst/>
              <a:gdLst>
                <a:gd name="T0" fmla="*/ 1 w 14"/>
                <a:gd name="T1" fmla="*/ 0 h 11"/>
                <a:gd name="T2" fmla="*/ 6 w 14"/>
                <a:gd name="T3" fmla="*/ 6 h 11"/>
                <a:gd name="T4" fmla="*/ 13 w 14"/>
                <a:gd name="T5" fmla="*/ 11 h 11"/>
                <a:gd name="T6" fmla="*/ 7 w 14"/>
                <a:gd name="T7" fmla="*/ 6 h 11"/>
                <a:gd name="T8" fmla="*/ 1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" y="0"/>
                  </a:moveTo>
                  <a:cubicBezTo>
                    <a:pt x="0" y="0"/>
                    <a:pt x="3" y="3"/>
                    <a:pt x="6" y="6"/>
                  </a:cubicBezTo>
                  <a:cubicBezTo>
                    <a:pt x="10" y="9"/>
                    <a:pt x="13" y="11"/>
                    <a:pt x="13" y="11"/>
                  </a:cubicBezTo>
                  <a:cubicBezTo>
                    <a:pt x="14" y="11"/>
                    <a:pt x="10" y="9"/>
                    <a:pt x="7" y="6"/>
                  </a:cubicBezTo>
                  <a:cubicBezTo>
                    <a:pt x="3" y="3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9" name="Freeform 142">
              <a:extLst>
                <a:ext uri="{FF2B5EF4-FFF2-40B4-BE49-F238E27FC236}">
                  <a16:creationId xmlns:a16="http://schemas.microsoft.com/office/drawing/2014/main" id="{5027F619-8724-4E6D-BD5C-AF8AE52A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3882"/>
              <a:ext cx="2" cy="7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2 h 3"/>
                <a:gd name="T4" fmla="*/ 0 w 1"/>
                <a:gd name="T5" fmla="*/ 3 h 3"/>
                <a:gd name="T6" fmla="*/ 1 w 1"/>
                <a:gd name="T7" fmla="*/ 2 h 3"/>
                <a:gd name="T8" fmla="*/ 1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0" name="Freeform 143">
              <a:extLst>
                <a:ext uri="{FF2B5EF4-FFF2-40B4-BE49-F238E27FC236}">
                  <a16:creationId xmlns:a16="http://schemas.microsoft.com/office/drawing/2014/main" id="{86E5FE77-2123-4E17-9966-00337D021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" y="3865"/>
              <a:ext cx="3" cy="7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2 h 3"/>
                <a:gd name="T4" fmla="*/ 0 w 1"/>
                <a:gd name="T5" fmla="*/ 3 h 3"/>
                <a:gd name="T6" fmla="*/ 1 w 1"/>
                <a:gd name="T7" fmla="*/ 2 h 3"/>
                <a:gd name="T8" fmla="*/ 0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1" name="Freeform 144">
              <a:extLst>
                <a:ext uri="{FF2B5EF4-FFF2-40B4-BE49-F238E27FC236}">
                  <a16:creationId xmlns:a16="http://schemas.microsoft.com/office/drawing/2014/main" id="{1B1BCCB0-1C4D-4A88-85D6-3E4EC31F8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" y="3851"/>
              <a:ext cx="5" cy="7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2 h 3"/>
                <a:gd name="T4" fmla="*/ 2 w 2"/>
                <a:gd name="T5" fmla="*/ 3 h 3"/>
                <a:gd name="T6" fmla="*/ 1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2" y="3"/>
                    <a:pt x="2" y="2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2" name="Freeform 145">
              <a:extLst>
                <a:ext uri="{FF2B5EF4-FFF2-40B4-BE49-F238E27FC236}">
                  <a16:creationId xmlns:a16="http://schemas.microsoft.com/office/drawing/2014/main" id="{6D0F0F4D-17E2-4739-822C-EB78F2B80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" y="3844"/>
              <a:ext cx="3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3" name="Freeform 146">
              <a:extLst>
                <a:ext uri="{FF2B5EF4-FFF2-40B4-BE49-F238E27FC236}">
                  <a16:creationId xmlns:a16="http://schemas.microsoft.com/office/drawing/2014/main" id="{1C624CA1-06F8-46FB-81CA-2D24BFDB3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3" y="2395"/>
              <a:ext cx="757" cy="1534"/>
            </a:xfrm>
            <a:custGeom>
              <a:avLst/>
              <a:gdLst>
                <a:gd name="T0" fmla="*/ 168 w 319"/>
                <a:gd name="T1" fmla="*/ 3 h 646"/>
                <a:gd name="T2" fmla="*/ 155 w 319"/>
                <a:gd name="T3" fmla="*/ 100 h 646"/>
                <a:gd name="T4" fmla="*/ 195 w 319"/>
                <a:gd name="T5" fmla="*/ 126 h 646"/>
                <a:gd name="T6" fmla="*/ 194 w 319"/>
                <a:gd name="T7" fmla="*/ 347 h 646"/>
                <a:gd name="T8" fmla="*/ 0 w 319"/>
                <a:gd name="T9" fmla="*/ 587 h 646"/>
                <a:gd name="T10" fmla="*/ 72 w 319"/>
                <a:gd name="T11" fmla="*/ 646 h 646"/>
                <a:gd name="T12" fmla="*/ 300 w 319"/>
                <a:gd name="T13" fmla="*/ 362 h 646"/>
                <a:gd name="T14" fmla="*/ 288 w 319"/>
                <a:gd name="T15" fmla="*/ 0 h 646"/>
                <a:gd name="T16" fmla="*/ 168 w 319"/>
                <a:gd name="T17" fmla="*/ 3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9" h="646">
                  <a:moveTo>
                    <a:pt x="168" y="3"/>
                  </a:moveTo>
                  <a:cubicBezTo>
                    <a:pt x="168" y="3"/>
                    <a:pt x="149" y="84"/>
                    <a:pt x="155" y="100"/>
                  </a:cubicBezTo>
                  <a:cubicBezTo>
                    <a:pt x="160" y="116"/>
                    <a:pt x="195" y="126"/>
                    <a:pt x="195" y="126"/>
                  </a:cubicBezTo>
                  <a:cubicBezTo>
                    <a:pt x="194" y="347"/>
                    <a:pt x="194" y="347"/>
                    <a:pt x="194" y="347"/>
                  </a:cubicBezTo>
                  <a:cubicBezTo>
                    <a:pt x="0" y="587"/>
                    <a:pt x="0" y="587"/>
                    <a:pt x="0" y="587"/>
                  </a:cubicBezTo>
                  <a:cubicBezTo>
                    <a:pt x="72" y="646"/>
                    <a:pt x="72" y="646"/>
                    <a:pt x="72" y="646"/>
                  </a:cubicBezTo>
                  <a:cubicBezTo>
                    <a:pt x="72" y="646"/>
                    <a:pt x="282" y="406"/>
                    <a:pt x="300" y="362"/>
                  </a:cubicBezTo>
                  <a:cubicBezTo>
                    <a:pt x="319" y="319"/>
                    <a:pt x="288" y="0"/>
                    <a:pt x="288" y="0"/>
                  </a:cubicBezTo>
                  <a:cubicBezTo>
                    <a:pt x="168" y="3"/>
                    <a:pt x="168" y="3"/>
                    <a:pt x="168" y="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4" name="Freeform 147">
              <a:extLst>
                <a:ext uri="{FF2B5EF4-FFF2-40B4-BE49-F238E27FC236}">
                  <a16:creationId xmlns:a16="http://schemas.microsoft.com/office/drawing/2014/main" id="{EF467F2A-E64D-438D-A82F-C67C9FE60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" y="2324"/>
              <a:ext cx="411" cy="1603"/>
            </a:xfrm>
            <a:custGeom>
              <a:avLst/>
              <a:gdLst>
                <a:gd name="T0" fmla="*/ 164 w 173"/>
                <a:gd name="T1" fmla="*/ 0 h 675"/>
                <a:gd name="T2" fmla="*/ 173 w 173"/>
                <a:gd name="T3" fmla="*/ 674 h 675"/>
                <a:gd name="T4" fmla="*/ 74 w 173"/>
                <a:gd name="T5" fmla="*/ 675 h 675"/>
                <a:gd name="T6" fmla="*/ 25 w 173"/>
                <a:gd name="T7" fmla="*/ 126 h 675"/>
                <a:gd name="T8" fmla="*/ 2 w 173"/>
                <a:gd name="T9" fmla="*/ 60 h 675"/>
                <a:gd name="T10" fmla="*/ 4 w 173"/>
                <a:gd name="T11" fmla="*/ 16 h 675"/>
                <a:gd name="T12" fmla="*/ 164 w 173"/>
                <a:gd name="T13" fmla="*/ 0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675">
                  <a:moveTo>
                    <a:pt x="164" y="0"/>
                  </a:moveTo>
                  <a:cubicBezTo>
                    <a:pt x="173" y="674"/>
                    <a:pt x="173" y="674"/>
                    <a:pt x="173" y="674"/>
                  </a:cubicBezTo>
                  <a:cubicBezTo>
                    <a:pt x="74" y="675"/>
                    <a:pt x="74" y="675"/>
                    <a:pt x="74" y="675"/>
                  </a:cubicBezTo>
                  <a:cubicBezTo>
                    <a:pt x="25" y="126"/>
                    <a:pt x="25" y="126"/>
                    <a:pt x="25" y="126"/>
                  </a:cubicBezTo>
                  <a:cubicBezTo>
                    <a:pt x="14" y="116"/>
                    <a:pt x="0" y="99"/>
                    <a:pt x="2" y="6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64" y="0"/>
                    <a:pt x="164" y="0"/>
                    <a:pt x="16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5" name="Freeform 148">
              <a:extLst>
                <a:ext uri="{FF2B5EF4-FFF2-40B4-BE49-F238E27FC236}">
                  <a16:creationId xmlns:a16="http://schemas.microsoft.com/office/drawing/2014/main" id="{A7B1723C-3DBF-4C85-9ED0-D787E24CE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" y="2649"/>
              <a:ext cx="93" cy="660"/>
            </a:xfrm>
            <a:custGeom>
              <a:avLst/>
              <a:gdLst>
                <a:gd name="T0" fmla="*/ 0 w 39"/>
                <a:gd name="T1" fmla="*/ 278 h 278"/>
                <a:gd name="T2" fmla="*/ 1 w 39"/>
                <a:gd name="T3" fmla="*/ 277 h 278"/>
                <a:gd name="T4" fmla="*/ 3 w 39"/>
                <a:gd name="T5" fmla="*/ 274 h 278"/>
                <a:gd name="T6" fmla="*/ 10 w 39"/>
                <a:gd name="T7" fmla="*/ 264 h 278"/>
                <a:gd name="T8" fmla="*/ 37 w 39"/>
                <a:gd name="T9" fmla="*/ 227 h 278"/>
                <a:gd name="T10" fmla="*/ 37 w 39"/>
                <a:gd name="T11" fmla="*/ 227 h 278"/>
                <a:gd name="T12" fmla="*/ 29 w 39"/>
                <a:gd name="T13" fmla="*/ 145 h 278"/>
                <a:gd name="T14" fmla="*/ 21 w 39"/>
                <a:gd name="T15" fmla="*/ 42 h 278"/>
                <a:gd name="T16" fmla="*/ 19 w 39"/>
                <a:gd name="T17" fmla="*/ 11 h 278"/>
                <a:gd name="T18" fmla="*/ 19 w 39"/>
                <a:gd name="T19" fmla="*/ 2 h 278"/>
                <a:gd name="T20" fmla="*/ 19 w 39"/>
                <a:gd name="T21" fmla="*/ 0 h 278"/>
                <a:gd name="T22" fmla="*/ 19 w 39"/>
                <a:gd name="T23" fmla="*/ 2 h 278"/>
                <a:gd name="T24" fmla="*/ 20 w 39"/>
                <a:gd name="T25" fmla="*/ 11 h 278"/>
                <a:gd name="T26" fmla="*/ 23 w 39"/>
                <a:gd name="T27" fmla="*/ 42 h 278"/>
                <a:gd name="T28" fmla="*/ 31 w 39"/>
                <a:gd name="T29" fmla="*/ 145 h 278"/>
                <a:gd name="T30" fmla="*/ 39 w 39"/>
                <a:gd name="T31" fmla="*/ 227 h 278"/>
                <a:gd name="T32" fmla="*/ 39 w 39"/>
                <a:gd name="T33" fmla="*/ 228 h 278"/>
                <a:gd name="T34" fmla="*/ 38 w 39"/>
                <a:gd name="T35" fmla="*/ 228 h 278"/>
                <a:gd name="T36" fmla="*/ 11 w 39"/>
                <a:gd name="T37" fmla="*/ 264 h 278"/>
                <a:gd name="T38" fmla="*/ 3 w 39"/>
                <a:gd name="T39" fmla="*/ 275 h 278"/>
                <a:gd name="T40" fmla="*/ 1 w 39"/>
                <a:gd name="T41" fmla="*/ 277 h 278"/>
                <a:gd name="T42" fmla="*/ 0 w 39"/>
                <a:gd name="T43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" h="278">
                  <a:moveTo>
                    <a:pt x="0" y="278"/>
                  </a:moveTo>
                  <a:cubicBezTo>
                    <a:pt x="0" y="278"/>
                    <a:pt x="1" y="278"/>
                    <a:pt x="1" y="277"/>
                  </a:cubicBezTo>
                  <a:cubicBezTo>
                    <a:pt x="2" y="276"/>
                    <a:pt x="2" y="275"/>
                    <a:pt x="3" y="274"/>
                  </a:cubicBezTo>
                  <a:cubicBezTo>
                    <a:pt x="5" y="272"/>
                    <a:pt x="7" y="268"/>
                    <a:pt x="10" y="264"/>
                  </a:cubicBezTo>
                  <a:cubicBezTo>
                    <a:pt x="17" y="255"/>
                    <a:pt x="26" y="242"/>
                    <a:pt x="37" y="227"/>
                  </a:cubicBezTo>
                  <a:cubicBezTo>
                    <a:pt x="37" y="227"/>
                    <a:pt x="37" y="227"/>
                    <a:pt x="37" y="227"/>
                  </a:cubicBezTo>
                  <a:cubicBezTo>
                    <a:pt x="35" y="204"/>
                    <a:pt x="32" y="175"/>
                    <a:pt x="29" y="145"/>
                  </a:cubicBezTo>
                  <a:cubicBezTo>
                    <a:pt x="26" y="105"/>
                    <a:pt x="23" y="68"/>
                    <a:pt x="21" y="42"/>
                  </a:cubicBezTo>
                  <a:cubicBezTo>
                    <a:pt x="20" y="29"/>
                    <a:pt x="20" y="18"/>
                    <a:pt x="19" y="11"/>
                  </a:cubicBezTo>
                  <a:cubicBezTo>
                    <a:pt x="19" y="7"/>
                    <a:pt x="19" y="5"/>
                    <a:pt x="19" y="2"/>
                  </a:cubicBezTo>
                  <a:cubicBezTo>
                    <a:pt x="19" y="1"/>
                    <a:pt x="19" y="0"/>
                    <a:pt x="19" y="0"/>
                  </a:cubicBezTo>
                  <a:cubicBezTo>
                    <a:pt x="19" y="0"/>
                    <a:pt x="19" y="1"/>
                    <a:pt x="19" y="2"/>
                  </a:cubicBezTo>
                  <a:cubicBezTo>
                    <a:pt x="20" y="5"/>
                    <a:pt x="20" y="7"/>
                    <a:pt x="20" y="11"/>
                  </a:cubicBezTo>
                  <a:cubicBezTo>
                    <a:pt x="21" y="19"/>
                    <a:pt x="22" y="29"/>
                    <a:pt x="23" y="42"/>
                  </a:cubicBezTo>
                  <a:cubicBezTo>
                    <a:pt x="25" y="68"/>
                    <a:pt x="28" y="105"/>
                    <a:pt x="31" y="145"/>
                  </a:cubicBezTo>
                  <a:cubicBezTo>
                    <a:pt x="34" y="175"/>
                    <a:pt x="37" y="204"/>
                    <a:pt x="39" y="227"/>
                  </a:cubicBezTo>
                  <a:cubicBezTo>
                    <a:pt x="39" y="228"/>
                    <a:pt x="39" y="228"/>
                    <a:pt x="39" y="228"/>
                  </a:cubicBezTo>
                  <a:cubicBezTo>
                    <a:pt x="38" y="228"/>
                    <a:pt x="38" y="228"/>
                    <a:pt x="38" y="228"/>
                  </a:cubicBezTo>
                  <a:cubicBezTo>
                    <a:pt x="27" y="243"/>
                    <a:pt x="18" y="255"/>
                    <a:pt x="11" y="264"/>
                  </a:cubicBezTo>
                  <a:cubicBezTo>
                    <a:pt x="8" y="269"/>
                    <a:pt x="5" y="272"/>
                    <a:pt x="3" y="275"/>
                  </a:cubicBezTo>
                  <a:cubicBezTo>
                    <a:pt x="3" y="276"/>
                    <a:pt x="2" y="276"/>
                    <a:pt x="1" y="277"/>
                  </a:cubicBezTo>
                  <a:cubicBezTo>
                    <a:pt x="1" y="278"/>
                    <a:pt x="1" y="278"/>
                    <a:pt x="0" y="27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6" name="Freeform 149">
              <a:extLst>
                <a:ext uri="{FF2B5EF4-FFF2-40B4-BE49-F238E27FC236}">
                  <a16:creationId xmlns:a16="http://schemas.microsoft.com/office/drawing/2014/main" id="{5CD2DB77-D23F-4E1C-A6E5-4661C4FF1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" y="2621"/>
              <a:ext cx="124" cy="28"/>
            </a:xfrm>
            <a:custGeom>
              <a:avLst/>
              <a:gdLst>
                <a:gd name="T0" fmla="*/ 52 w 52"/>
                <a:gd name="T1" fmla="*/ 12 h 12"/>
                <a:gd name="T2" fmla="*/ 26 w 52"/>
                <a:gd name="T3" fmla="*/ 8 h 12"/>
                <a:gd name="T4" fmla="*/ 0 w 52"/>
                <a:gd name="T5" fmla="*/ 1 h 12"/>
                <a:gd name="T6" fmla="*/ 26 w 52"/>
                <a:gd name="T7" fmla="*/ 6 h 12"/>
                <a:gd name="T8" fmla="*/ 52 w 5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2">
                  <a:moveTo>
                    <a:pt x="52" y="12"/>
                  </a:moveTo>
                  <a:cubicBezTo>
                    <a:pt x="52" y="12"/>
                    <a:pt x="40" y="11"/>
                    <a:pt x="26" y="8"/>
                  </a:cubicBezTo>
                  <a:cubicBezTo>
                    <a:pt x="11" y="5"/>
                    <a:pt x="0" y="1"/>
                    <a:pt x="0" y="1"/>
                  </a:cubicBezTo>
                  <a:cubicBezTo>
                    <a:pt x="0" y="0"/>
                    <a:pt x="12" y="3"/>
                    <a:pt x="26" y="6"/>
                  </a:cubicBezTo>
                  <a:cubicBezTo>
                    <a:pt x="40" y="9"/>
                    <a:pt x="52" y="11"/>
                    <a:pt x="52" y="1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7" name="Freeform 150">
              <a:extLst>
                <a:ext uri="{FF2B5EF4-FFF2-40B4-BE49-F238E27FC236}">
                  <a16:creationId xmlns:a16="http://schemas.microsoft.com/office/drawing/2014/main" id="{3E2EAFE7-B999-4116-AC34-043B03206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" y="3172"/>
              <a:ext cx="130" cy="23"/>
            </a:xfrm>
            <a:custGeom>
              <a:avLst/>
              <a:gdLst>
                <a:gd name="T0" fmla="*/ 54 w 55"/>
                <a:gd name="T1" fmla="*/ 10 h 10"/>
                <a:gd name="T2" fmla="*/ 28 w 55"/>
                <a:gd name="T3" fmla="*/ 3 h 10"/>
                <a:gd name="T4" fmla="*/ 0 w 55"/>
                <a:gd name="T5" fmla="*/ 5 h 10"/>
                <a:gd name="T6" fmla="*/ 8 w 55"/>
                <a:gd name="T7" fmla="*/ 2 h 10"/>
                <a:gd name="T8" fmla="*/ 28 w 55"/>
                <a:gd name="T9" fmla="*/ 1 h 10"/>
                <a:gd name="T10" fmla="*/ 47 w 55"/>
                <a:gd name="T11" fmla="*/ 5 h 10"/>
                <a:gd name="T12" fmla="*/ 54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4" y="10"/>
                  </a:moveTo>
                  <a:cubicBezTo>
                    <a:pt x="54" y="10"/>
                    <a:pt x="43" y="4"/>
                    <a:pt x="28" y="3"/>
                  </a:cubicBezTo>
                  <a:cubicBezTo>
                    <a:pt x="12" y="1"/>
                    <a:pt x="0" y="6"/>
                    <a:pt x="0" y="5"/>
                  </a:cubicBezTo>
                  <a:cubicBezTo>
                    <a:pt x="0" y="5"/>
                    <a:pt x="3" y="4"/>
                    <a:pt x="8" y="2"/>
                  </a:cubicBezTo>
                  <a:cubicBezTo>
                    <a:pt x="13" y="1"/>
                    <a:pt x="20" y="0"/>
                    <a:pt x="28" y="1"/>
                  </a:cubicBezTo>
                  <a:cubicBezTo>
                    <a:pt x="36" y="1"/>
                    <a:pt x="43" y="3"/>
                    <a:pt x="47" y="5"/>
                  </a:cubicBezTo>
                  <a:cubicBezTo>
                    <a:pt x="52" y="8"/>
                    <a:pt x="55" y="9"/>
                    <a:pt x="54" y="1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8" name="Freeform 151">
              <a:extLst>
                <a:ext uri="{FF2B5EF4-FFF2-40B4-BE49-F238E27FC236}">
                  <a16:creationId xmlns:a16="http://schemas.microsoft.com/office/drawing/2014/main" id="{94773566-46A7-49FE-A77D-6B412E5A4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7" y="3269"/>
              <a:ext cx="301" cy="394"/>
            </a:xfrm>
            <a:custGeom>
              <a:avLst/>
              <a:gdLst>
                <a:gd name="T0" fmla="*/ 126 w 127"/>
                <a:gd name="T1" fmla="*/ 0 h 166"/>
                <a:gd name="T2" fmla="*/ 64 w 127"/>
                <a:gd name="T3" fmla="*/ 83 h 166"/>
                <a:gd name="T4" fmla="*/ 1 w 127"/>
                <a:gd name="T5" fmla="*/ 165 h 166"/>
                <a:gd name="T6" fmla="*/ 63 w 127"/>
                <a:gd name="T7" fmla="*/ 82 h 166"/>
                <a:gd name="T8" fmla="*/ 126 w 127"/>
                <a:gd name="T9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66">
                  <a:moveTo>
                    <a:pt x="126" y="0"/>
                  </a:moveTo>
                  <a:cubicBezTo>
                    <a:pt x="127" y="0"/>
                    <a:pt x="99" y="38"/>
                    <a:pt x="64" y="83"/>
                  </a:cubicBezTo>
                  <a:cubicBezTo>
                    <a:pt x="29" y="129"/>
                    <a:pt x="1" y="166"/>
                    <a:pt x="1" y="165"/>
                  </a:cubicBezTo>
                  <a:cubicBezTo>
                    <a:pt x="0" y="165"/>
                    <a:pt x="28" y="128"/>
                    <a:pt x="63" y="82"/>
                  </a:cubicBezTo>
                  <a:cubicBezTo>
                    <a:pt x="97" y="36"/>
                    <a:pt x="126" y="0"/>
                    <a:pt x="12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9" name="Freeform 152">
              <a:extLst>
                <a:ext uri="{FF2B5EF4-FFF2-40B4-BE49-F238E27FC236}">
                  <a16:creationId xmlns:a16="http://schemas.microsoft.com/office/drawing/2014/main" id="{9DBD204B-7BB5-4D89-930D-8C5D04B4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6" y="2431"/>
              <a:ext cx="119" cy="47"/>
            </a:xfrm>
            <a:custGeom>
              <a:avLst/>
              <a:gdLst>
                <a:gd name="T0" fmla="*/ 50 w 50"/>
                <a:gd name="T1" fmla="*/ 5 h 20"/>
                <a:gd name="T2" fmla="*/ 44 w 50"/>
                <a:gd name="T3" fmla="*/ 12 h 20"/>
                <a:gd name="T4" fmla="*/ 23 w 50"/>
                <a:gd name="T5" fmla="*/ 19 h 20"/>
                <a:gd name="T6" fmla="*/ 4 w 50"/>
                <a:gd name="T7" fmla="*/ 8 h 20"/>
                <a:gd name="T8" fmla="*/ 0 w 50"/>
                <a:gd name="T9" fmla="*/ 0 h 20"/>
                <a:gd name="T10" fmla="*/ 5 w 50"/>
                <a:gd name="T11" fmla="*/ 7 h 20"/>
                <a:gd name="T12" fmla="*/ 23 w 50"/>
                <a:gd name="T13" fmla="*/ 17 h 20"/>
                <a:gd name="T14" fmla="*/ 43 w 50"/>
                <a:gd name="T15" fmla="*/ 11 h 20"/>
                <a:gd name="T16" fmla="*/ 50 w 50"/>
                <a:gd name="T17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20">
                  <a:moveTo>
                    <a:pt x="50" y="5"/>
                  </a:moveTo>
                  <a:cubicBezTo>
                    <a:pt x="50" y="5"/>
                    <a:pt x="49" y="9"/>
                    <a:pt x="44" y="12"/>
                  </a:cubicBezTo>
                  <a:cubicBezTo>
                    <a:pt x="40" y="16"/>
                    <a:pt x="32" y="20"/>
                    <a:pt x="23" y="19"/>
                  </a:cubicBezTo>
                  <a:cubicBezTo>
                    <a:pt x="14" y="18"/>
                    <a:pt x="7" y="13"/>
                    <a:pt x="4" y="8"/>
                  </a:cubicBezTo>
                  <a:cubicBezTo>
                    <a:pt x="1" y="4"/>
                    <a:pt x="0" y="0"/>
                    <a:pt x="0" y="0"/>
                  </a:cubicBezTo>
                  <a:cubicBezTo>
                    <a:pt x="1" y="0"/>
                    <a:pt x="2" y="3"/>
                    <a:pt x="5" y="7"/>
                  </a:cubicBezTo>
                  <a:cubicBezTo>
                    <a:pt x="9" y="11"/>
                    <a:pt x="15" y="16"/>
                    <a:pt x="23" y="17"/>
                  </a:cubicBezTo>
                  <a:cubicBezTo>
                    <a:pt x="32" y="18"/>
                    <a:pt x="39" y="15"/>
                    <a:pt x="43" y="11"/>
                  </a:cubicBezTo>
                  <a:cubicBezTo>
                    <a:pt x="48" y="8"/>
                    <a:pt x="50" y="5"/>
                    <a:pt x="50" y="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0" name="Freeform 153">
              <a:extLst>
                <a:ext uri="{FF2B5EF4-FFF2-40B4-BE49-F238E27FC236}">
                  <a16:creationId xmlns:a16="http://schemas.microsoft.com/office/drawing/2014/main" id="{F9FCF7DB-B358-4670-A317-A6794FCF5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" y="1334"/>
              <a:ext cx="66" cy="285"/>
            </a:xfrm>
            <a:custGeom>
              <a:avLst/>
              <a:gdLst>
                <a:gd name="T0" fmla="*/ 28 w 28"/>
                <a:gd name="T1" fmla="*/ 120 h 120"/>
                <a:gd name="T2" fmla="*/ 1 w 28"/>
                <a:gd name="T3" fmla="*/ 61 h 120"/>
                <a:gd name="T4" fmla="*/ 23 w 28"/>
                <a:gd name="T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20">
                  <a:moveTo>
                    <a:pt x="28" y="120"/>
                  </a:moveTo>
                  <a:cubicBezTo>
                    <a:pt x="12" y="105"/>
                    <a:pt x="2" y="83"/>
                    <a:pt x="1" y="61"/>
                  </a:cubicBezTo>
                  <a:cubicBezTo>
                    <a:pt x="0" y="39"/>
                    <a:pt x="8" y="17"/>
                    <a:pt x="2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1" name="Freeform 154">
              <a:extLst>
                <a:ext uri="{FF2B5EF4-FFF2-40B4-BE49-F238E27FC236}">
                  <a16:creationId xmlns:a16="http://schemas.microsoft.com/office/drawing/2014/main" id="{BF93C7D2-6CD6-4CAC-9EEF-5B0165D0F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768"/>
              <a:ext cx="150" cy="307"/>
            </a:xfrm>
            <a:custGeom>
              <a:avLst/>
              <a:gdLst>
                <a:gd name="T0" fmla="*/ 25 w 63"/>
                <a:gd name="T1" fmla="*/ 0 h 129"/>
                <a:gd name="T2" fmla="*/ 0 w 63"/>
                <a:gd name="T3" fmla="*/ 117 h 129"/>
                <a:gd name="T4" fmla="*/ 62 w 63"/>
                <a:gd name="T5" fmla="*/ 125 h 129"/>
                <a:gd name="T6" fmla="*/ 25 w 63"/>
                <a:gd name="T7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129">
                  <a:moveTo>
                    <a:pt x="25" y="0"/>
                  </a:moveTo>
                  <a:cubicBezTo>
                    <a:pt x="25" y="0"/>
                    <a:pt x="4" y="24"/>
                    <a:pt x="0" y="117"/>
                  </a:cubicBezTo>
                  <a:cubicBezTo>
                    <a:pt x="0" y="117"/>
                    <a:pt x="61" y="129"/>
                    <a:pt x="62" y="125"/>
                  </a:cubicBezTo>
                  <a:cubicBezTo>
                    <a:pt x="63" y="122"/>
                    <a:pt x="25" y="0"/>
                    <a:pt x="25" y="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2" name="Freeform 155">
              <a:extLst>
                <a:ext uri="{FF2B5EF4-FFF2-40B4-BE49-F238E27FC236}">
                  <a16:creationId xmlns:a16="http://schemas.microsoft.com/office/drawing/2014/main" id="{83360F0F-E5E4-4EF8-AF82-351C9891E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768"/>
              <a:ext cx="116" cy="297"/>
            </a:xfrm>
            <a:custGeom>
              <a:avLst/>
              <a:gdLst>
                <a:gd name="T0" fmla="*/ 25 w 49"/>
                <a:gd name="T1" fmla="*/ 0 h 125"/>
                <a:gd name="T2" fmla="*/ 0 w 49"/>
                <a:gd name="T3" fmla="*/ 117 h 125"/>
                <a:gd name="T4" fmla="*/ 49 w 49"/>
                <a:gd name="T5" fmla="*/ 125 h 125"/>
                <a:gd name="T6" fmla="*/ 31 w 49"/>
                <a:gd name="T7" fmla="*/ 71 h 125"/>
                <a:gd name="T8" fmla="*/ 19 w 49"/>
                <a:gd name="T9" fmla="*/ 23 h 125"/>
                <a:gd name="T10" fmla="*/ 21 w 49"/>
                <a:gd name="T11" fmla="*/ 8 h 125"/>
                <a:gd name="T12" fmla="*/ 25 w 49"/>
                <a:gd name="T13" fmla="*/ 0 h 125"/>
                <a:gd name="T14" fmla="*/ 25 w 49"/>
                <a:gd name="T1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125">
                  <a:moveTo>
                    <a:pt x="25" y="0"/>
                  </a:moveTo>
                  <a:cubicBezTo>
                    <a:pt x="25" y="0"/>
                    <a:pt x="4" y="24"/>
                    <a:pt x="0" y="117"/>
                  </a:cubicBezTo>
                  <a:cubicBezTo>
                    <a:pt x="0" y="117"/>
                    <a:pt x="30" y="123"/>
                    <a:pt x="49" y="12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24" y="54"/>
                    <a:pt x="19" y="37"/>
                    <a:pt x="19" y="23"/>
                  </a:cubicBezTo>
                  <a:cubicBezTo>
                    <a:pt x="19" y="18"/>
                    <a:pt x="20" y="13"/>
                    <a:pt x="21" y="8"/>
                  </a:cubicBezTo>
                  <a:cubicBezTo>
                    <a:pt x="23" y="5"/>
                    <a:pt x="24" y="3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3" name="Freeform 156">
              <a:extLst>
                <a:ext uri="{FF2B5EF4-FFF2-40B4-BE49-F238E27FC236}">
                  <a16:creationId xmlns:a16="http://schemas.microsoft.com/office/drawing/2014/main" id="{157E2B7D-094C-4958-9E00-8FD25F82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8" y="1662"/>
              <a:ext cx="665" cy="747"/>
            </a:xfrm>
            <a:custGeom>
              <a:avLst/>
              <a:gdLst>
                <a:gd name="T0" fmla="*/ 20 w 280"/>
                <a:gd name="T1" fmla="*/ 315 h 315"/>
                <a:gd name="T2" fmla="*/ 208 w 280"/>
                <a:gd name="T3" fmla="*/ 315 h 315"/>
                <a:gd name="T4" fmla="*/ 205 w 280"/>
                <a:gd name="T5" fmla="*/ 286 h 315"/>
                <a:gd name="T6" fmla="*/ 184 w 280"/>
                <a:gd name="T7" fmla="*/ 173 h 315"/>
                <a:gd name="T8" fmla="*/ 187 w 280"/>
                <a:gd name="T9" fmla="*/ 166 h 315"/>
                <a:gd name="T10" fmla="*/ 188 w 280"/>
                <a:gd name="T11" fmla="*/ 107 h 315"/>
                <a:gd name="T12" fmla="*/ 280 w 280"/>
                <a:gd name="T13" fmla="*/ 75 h 315"/>
                <a:gd name="T14" fmla="*/ 257 w 280"/>
                <a:gd name="T15" fmla="*/ 0 h 315"/>
                <a:gd name="T16" fmla="*/ 153 w 280"/>
                <a:gd name="T17" fmla="*/ 15 h 315"/>
                <a:gd name="T18" fmla="*/ 143 w 280"/>
                <a:gd name="T19" fmla="*/ 15 h 315"/>
                <a:gd name="T20" fmla="*/ 77 w 280"/>
                <a:gd name="T21" fmla="*/ 19 h 315"/>
                <a:gd name="T22" fmla="*/ 6 w 280"/>
                <a:gd name="T23" fmla="*/ 53 h 315"/>
                <a:gd name="T24" fmla="*/ 16 w 280"/>
                <a:gd name="T25" fmla="*/ 116 h 315"/>
                <a:gd name="T26" fmla="*/ 40 w 280"/>
                <a:gd name="T27" fmla="*/ 190 h 315"/>
                <a:gd name="T28" fmla="*/ 26 w 280"/>
                <a:gd name="T29" fmla="*/ 270 h 315"/>
                <a:gd name="T30" fmla="*/ 20 w 280"/>
                <a:gd name="T31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0" h="315">
                  <a:moveTo>
                    <a:pt x="20" y="315"/>
                  </a:moveTo>
                  <a:cubicBezTo>
                    <a:pt x="208" y="315"/>
                    <a:pt x="208" y="315"/>
                    <a:pt x="208" y="315"/>
                  </a:cubicBezTo>
                  <a:cubicBezTo>
                    <a:pt x="205" y="286"/>
                    <a:pt x="205" y="286"/>
                    <a:pt x="205" y="286"/>
                  </a:cubicBezTo>
                  <a:cubicBezTo>
                    <a:pt x="205" y="286"/>
                    <a:pt x="183" y="174"/>
                    <a:pt x="184" y="173"/>
                  </a:cubicBezTo>
                  <a:cubicBezTo>
                    <a:pt x="187" y="166"/>
                    <a:pt x="187" y="166"/>
                    <a:pt x="187" y="166"/>
                  </a:cubicBezTo>
                  <a:cubicBezTo>
                    <a:pt x="196" y="147"/>
                    <a:pt x="196" y="126"/>
                    <a:pt x="188" y="10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216" y="7"/>
                    <a:pt x="153" y="15"/>
                    <a:pt x="153" y="15"/>
                  </a:cubicBezTo>
                  <a:cubicBezTo>
                    <a:pt x="143" y="15"/>
                    <a:pt x="143" y="15"/>
                    <a:pt x="143" y="15"/>
                  </a:cubicBezTo>
                  <a:cubicBezTo>
                    <a:pt x="143" y="15"/>
                    <a:pt x="78" y="19"/>
                    <a:pt x="77" y="19"/>
                  </a:cubicBezTo>
                  <a:cubicBezTo>
                    <a:pt x="50" y="22"/>
                    <a:pt x="18" y="24"/>
                    <a:pt x="6" y="53"/>
                  </a:cubicBezTo>
                  <a:cubicBezTo>
                    <a:pt x="0" y="69"/>
                    <a:pt x="6" y="92"/>
                    <a:pt x="16" y="116"/>
                  </a:cubicBezTo>
                  <a:cubicBezTo>
                    <a:pt x="40" y="190"/>
                    <a:pt x="40" y="190"/>
                    <a:pt x="40" y="190"/>
                  </a:cubicBezTo>
                  <a:cubicBezTo>
                    <a:pt x="50" y="231"/>
                    <a:pt x="34" y="229"/>
                    <a:pt x="26" y="270"/>
                  </a:cubicBezTo>
                  <a:cubicBezTo>
                    <a:pt x="25" y="276"/>
                    <a:pt x="20" y="309"/>
                    <a:pt x="20" y="31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4" name="Freeform 157">
              <a:extLst>
                <a:ext uri="{FF2B5EF4-FFF2-40B4-BE49-F238E27FC236}">
                  <a16:creationId xmlns:a16="http://schemas.microsoft.com/office/drawing/2014/main" id="{4D111FEA-CFC9-46E3-97FF-5667A3579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" y="1662"/>
              <a:ext cx="656" cy="747"/>
            </a:xfrm>
            <a:custGeom>
              <a:avLst/>
              <a:gdLst>
                <a:gd name="T0" fmla="*/ 253 w 276"/>
                <a:gd name="T1" fmla="*/ 0 h 315"/>
                <a:gd name="T2" fmla="*/ 177 w 276"/>
                <a:gd name="T3" fmla="*/ 11 h 315"/>
                <a:gd name="T4" fmla="*/ 175 w 276"/>
                <a:gd name="T5" fmla="*/ 11 h 315"/>
                <a:gd name="T6" fmla="*/ 149 w 276"/>
                <a:gd name="T7" fmla="*/ 15 h 315"/>
                <a:gd name="T8" fmla="*/ 139 w 276"/>
                <a:gd name="T9" fmla="*/ 15 h 315"/>
                <a:gd name="T10" fmla="*/ 138 w 276"/>
                <a:gd name="T11" fmla="*/ 15 h 315"/>
                <a:gd name="T12" fmla="*/ 73 w 276"/>
                <a:gd name="T13" fmla="*/ 19 h 315"/>
                <a:gd name="T14" fmla="*/ 71 w 276"/>
                <a:gd name="T15" fmla="*/ 19 h 315"/>
                <a:gd name="T16" fmla="*/ 6 w 276"/>
                <a:gd name="T17" fmla="*/ 45 h 315"/>
                <a:gd name="T18" fmla="*/ 2 w 276"/>
                <a:gd name="T19" fmla="*/ 53 h 315"/>
                <a:gd name="T20" fmla="*/ 0 w 276"/>
                <a:gd name="T21" fmla="*/ 68 h 315"/>
                <a:gd name="T22" fmla="*/ 12 w 276"/>
                <a:gd name="T23" fmla="*/ 116 h 315"/>
                <a:gd name="T24" fmla="*/ 36 w 276"/>
                <a:gd name="T25" fmla="*/ 190 h 315"/>
                <a:gd name="T26" fmla="*/ 39 w 276"/>
                <a:gd name="T27" fmla="*/ 212 h 315"/>
                <a:gd name="T28" fmla="*/ 22 w 276"/>
                <a:gd name="T29" fmla="*/ 270 h 315"/>
                <a:gd name="T30" fmla="*/ 16 w 276"/>
                <a:gd name="T31" fmla="*/ 315 h 315"/>
                <a:gd name="T32" fmla="*/ 16 w 276"/>
                <a:gd name="T33" fmla="*/ 315 h 315"/>
                <a:gd name="T34" fmla="*/ 204 w 276"/>
                <a:gd name="T35" fmla="*/ 315 h 315"/>
                <a:gd name="T36" fmla="*/ 201 w 276"/>
                <a:gd name="T37" fmla="*/ 286 h 315"/>
                <a:gd name="T38" fmla="*/ 180 w 276"/>
                <a:gd name="T39" fmla="*/ 173 h 315"/>
                <a:gd name="T40" fmla="*/ 180 w 276"/>
                <a:gd name="T41" fmla="*/ 173 h 315"/>
                <a:gd name="T42" fmla="*/ 183 w 276"/>
                <a:gd name="T43" fmla="*/ 166 h 315"/>
                <a:gd name="T44" fmla="*/ 190 w 276"/>
                <a:gd name="T45" fmla="*/ 135 h 315"/>
                <a:gd name="T46" fmla="*/ 184 w 276"/>
                <a:gd name="T47" fmla="*/ 107 h 315"/>
                <a:gd name="T48" fmla="*/ 184 w 276"/>
                <a:gd name="T49" fmla="*/ 107 h 315"/>
                <a:gd name="T50" fmla="*/ 184 w 276"/>
                <a:gd name="T51" fmla="*/ 107 h 315"/>
                <a:gd name="T52" fmla="*/ 276 w 276"/>
                <a:gd name="T53" fmla="*/ 75 h 315"/>
                <a:gd name="T54" fmla="*/ 275 w 276"/>
                <a:gd name="T55" fmla="*/ 75 h 315"/>
                <a:gd name="T56" fmla="*/ 273 w 276"/>
                <a:gd name="T57" fmla="*/ 66 h 315"/>
                <a:gd name="T58" fmla="*/ 255 w 276"/>
                <a:gd name="T59" fmla="*/ 6 h 315"/>
                <a:gd name="T60" fmla="*/ 253 w 276"/>
                <a:gd name="T61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6" h="315">
                  <a:moveTo>
                    <a:pt x="253" y="0"/>
                  </a:moveTo>
                  <a:cubicBezTo>
                    <a:pt x="229" y="4"/>
                    <a:pt x="199" y="8"/>
                    <a:pt x="177" y="11"/>
                  </a:cubicBezTo>
                  <a:cubicBezTo>
                    <a:pt x="176" y="11"/>
                    <a:pt x="175" y="11"/>
                    <a:pt x="175" y="11"/>
                  </a:cubicBezTo>
                  <a:cubicBezTo>
                    <a:pt x="159" y="13"/>
                    <a:pt x="149" y="15"/>
                    <a:pt x="149" y="15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9" y="15"/>
                    <a:pt x="139" y="15"/>
                    <a:pt x="138" y="15"/>
                  </a:cubicBezTo>
                  <a:cubicBezTo>
                    <a:pt x="131" y="16"/>
                    <a:pt x="74" y="19"/>
                    <a:pt x="73" y="19"/>
                  </a:cubicBezTo>
                  <a:cubicBezTo>
                    <a:pt x="72" y="19"/>
                    <a:pt x="71" y="19"/>
                    <a:pt x="71" y="19"/>
                  </a:cubicBezTo>
                  <a:cubicBezTo>
                    <a:pt x="47" y="22"/>
                    <a:pt x="20" y="24"/>
                    <a:pt x="6" y="45"/>
                  </a:cubicBezTo>
                  <a:cubicBezTo>
                    <a:pt x="5" y="48"/>
                    <a:pt x="4" y="50"/>
                    <a:pt x="2" y="53"/>
                  </a:cubicBezTo>
                  <a:cubicBezTo>
                    <a:pt x="1" y="58"/>
                    <a:pt x="0" y="63"/>
                    <a:pt x="0" y="68"/>
                  </a:cubicBezTo>
                  <a:cubicBezTo>
                    <a:pt x="0" y="82"/>
                    <a:pt x="5" y="99"/>
                    <a:pt x="12" y="116"/>
                  </a:cubicBezTo>
                  <a:cubicBezTo>
                    <a:pt x="36" y="190"/>
                    <a:pt x="36" y="190"/>
                    <a:pt x="36" y="190"/>
                  </a:cubicBezTo>
                  <a:cubicBezTo>
                    <a:pt x="38" y="200"/>
                    <a:pt x="39" y="206"/>
                    <a:pt x="39" y="212"/>
                  </a:cubicBezTo>
                  <a:cubicBezTo>
                    <a:pt x="39" y="232"/>
                    <a:pt x="29" y="238"/>
                    <a:pt x="22" y="270"/>
                  </a:cubicBezTo>
                  <a:cubicBezTo>
                    <a:pt x="21" y="276"/>
                    <a:pt x="16" y="309"/>
                    <a:pt x="16" y="315"/>
                  </a:cubicBezTo>
                  <a:cubicBezTo>
                    <a:pt x="16" y="315"/>
                    <a:pt x="16" y="315"/>
                    <a:pt x="16" y="315"/>
                  </a:cubicBezTo>
                  <a:cubicBezTo>
                    <a:pt x="204" y="315"/>
                    <a:pt x="204" y="315"/>
                    <a:pt x="204" y="315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01" y="286"/>
                    <a:pt x="180" y="175"/>
                    <a:pt x="180" y="173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3" y="166"/>
                    <a:pt x="183" y="166"/>
                    <a:pt x="183" y="166"/>
                  </a:cubicBezTo>
                  <a:cubicBezTo>
                    <a:pt x="188" y="156"/>
                    <a:pt x="190" y="146"/>
                    <a:pt x="190" y="135"/>
                  </a:cubicBezTo>
                  <a:cubicBezTo>
                    <a:pt x="190" y="126"/>
                    <a:pt x="188" y="116"/>
                    <a:pt x="184" y="107"/>
                  </a:cubicBezTo>
                  <a:cubicBezTo>
                    <a:pt x="184" y="107"/>
                    <a:pt x="184" y="107"/>
                    <a:pt x="184" y="107"/>
                  </a:cubicBezTo>
                  <a:cubicBezTo>
                    <a:pt x="184" y="107"/>
                    <a:pt x="184" y="107"/>
                    <a:pt x="184" y="107"/>
                  </a:cubicBezTo>
                  <a:cubicBezTo>
                    <a:pt x="276" y="75"/>
                    <a:pt x="276" y="75"/>
                    <a:pt x="276" y="75"/>
                  </a:cubicBezTo>
                  <a:cubicBezTo>
                    <a:pt x="275" y="75"/>
                    <a:pt x="275" y="75"/>
                    <a:pt x="275" y="75"/>
                  </a:cubicBezTo>
                  <a:cubicBezTo>
                    <a:pt x="273" y="66"/>
                    <a:pt x="273" y="66"/>
                    <a:pt x="273" y="66"/>
                  </a:cubicBezTo>
                  <a:cubicBezTo>
                    <a:pt x="255" y="6"/>
                    <a:pt x="255" y="6"/>
                    <a:pt x="255" y="6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5" name="Freeform 158">
              <a:extLst>
                <a:ext uri="{FF2B5EF4-FFF2-40B4-BE49-F238E27FC236}">
                  <a16:creationId xmlns:a16="http://schemas.microsoft.com/office/drawing/2014/main" id="{B14ACA52-A0EF-432B-A1DE-5CD4CC4A1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" y="1844"/>
              <a:ext cx="252" cy="88"/>
            </a:xfrm>
            <a:custGeom>
              <a:avLst/>
              <a:gdLst>
                <a:gd name="T0" fmla="*/ 106 w 106"/>
                <a:gd name="T1" fmla="*/ 0 h 37"/>
                <a:gd name="T2" fmla="*/ 102 w 106"/>
                <a:gd name="T3" fmla="*/ 1 h 37"/>
                <a:gd name="T4" fmla="*/ 90 w 106"/>
                <a:gd name="T5" fmla="*/ 5 h 37"/>
                <a:gd name="T6" fmla="*/ 53 w 106"/>
                <a:gd name="T7" fmla="*/ 18 h 37"/>
                <a:gd name="T8" fmla="*/ 16 w 106"/>
                <a:gd name="T9" fmla="*/ 31 h 37"/>
                <a:gd name="T10" fmla="*/ 4 w 106"/>
                <a:gd name="T11" fmla="*/ 35 h 37"/>
                <a:gd name="T12" fmla="*/ 0 w 106"/>
                <a:gd name="T13" fmla="*/ 37 h 37"/>
                <a:gd name="T14" fmla="*/ 4 w 106"/>
                <a:gd name="T15" fmla="*/ 35 h 37"/>
                <a:gd name="T16" fmla="*/ 15 w 106"/>
                <a:gd name="T17" fmla="*/ 29 h 37"/>
                <a:gd name="T18" fmla="*/ 52 w 106"/>
                <a:gd name="T19" fmla="*/ 16 h 37"/>
                <a:gd name="T20" fmla="*/ 90 w 106"/>
                <a:gd name="T21" fmla="*/ 4 h 37"/>
                <a:gd name="T22" fmla="*/ 101 w 106"/>
                <a:gd name="T23" fmla="*/ 1 h 37"/>
                <a:gd name="T24" fmla="*/ 106 w 106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37">
                  <a:moveTo>
                    <a:pt x="106" y="0"/>
                  </a:moveTo>
                  <a:cubicBezTo>
                    <a:pt x="106" y="0"/>
                    <a:pt x="104" y="0"/>
                    <a:pt x="102" y="1"/>
                  </a:cubicBezTo>
                  <a:cubicBezTo>
                    <a:pt x="99" y="2"/>
                    <a:pt x="95" y="4"/>
                    <a:pt x="90" y="5"/>
                  </a:cubicBezTo>
                  <a:cubicBezTo>
                    <a:pt x="81" y="9"/>
                    <a:pt x="67" y="13"/>
                    <a:pt x="53" y="18"/>
                  </a:cubicBezTo>
                  <a:cubicBezTo>
                    <a:pt x="38" y="22"/>
                    <a:pt x="25" y="27"/>
                    <a:pt x="16" y="31"/>
                  </a:cubicBezTo>
                  <a:cubicBezTo>
                    <a:pt x="11" y="33"/>
                    <a:pt x="7" y="34"/>
                    <a:pt x="4" y="35"/>
                  </a:cubicBezTo>
                  <a:cubicBezTo>
                    <a:pt x="2" y="37"/>
                    <a:pt x="0" y="37"/>
                    <a:pt x="0" y="37"/>
                  </a:cubicBezTo>
                  <a:cubicBezTo>
                    <a:pt x="0" y="37"/>
                    <a:pt x="2" y="36"/>
                    <a:pt x="4" y="35"/>
                  </a:cubicBezTo>
                  <a:cubicBezTo>
                    <a:pt x="7" y="33"/>
                    <a:pt x="10" y="32"/>
                    <a:pt x="15" y="29"/>
                  </a:cubicBezTo>
                  <a:cubicBezTo>
                    <a:pt x="24" y="25"/>
                    <a:pt x="37" y="20"/>
                    <a:pt x="52" y="16"/>
                  </a:cubicBezTo>
                  <a:cubicBezTo>
                    <a:pt x="67" y="11"/>
                    <a:pt x="80" y="7"/>
                    <a:pt x="90" y="4"/>
                  </a:cubicBezTo>
                  <a:cubicBezTo>
                    <a:pt x="95" y="2"/>
                    <a:pt x="99" y="1"/>
                    <a:pt x="101" y="1"/>
                  </a:cubicBezTo>
                  <a:cubicBezTo>
                    <a:pt x="104" y="0"/>
                    <a:pt x="106" y="0"/>
                    <a:pt x="10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6" name="Oval 159">
              <a:extLst>
                <a:ext uri="{FF2B5EF4-FFF2-40B4-BE49-F238E27FC236}">
                  <a16:creationId xmlns:a16="http://schemas.microsoft.com/office/drawing/2014/main" id="{C54E7EB8-6AF9-414B-A780-DA9E729CA4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5" y="1745"/>
              <a:ext cx="589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7" name="Oval 160">
              <a:extLst>
                <a:ext uri="{FF2B5EF4-FFF2-40B4-BE49-F238E27FC236}">
                  <a16:creationId xmlns:a16="http://schemas.microsoft.com/office/drawing/2014/main" id="{AA2E8FA4-B090-4B0C-9876-EDDAE779E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1833"/>
              <a:ext cx="655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8" name="Oval 161">
              <a:extLst>
                <a:ext uri="{FF2B5EF4-FFF2-40B4-BE49-F238E27FC236}">
                  <a16:creationId xmlns:a16="http://schemas.microsoft.com/office/drawing/2014/main" id="{6BE4CB4C-AA8C-4A19-95A3-122B1034B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1932"/>
              <a:ext cx="55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9" name="Oval 162">
              <a:extLst>
                <a:ext uri="{FF2B5EF4-FFF2-40B4-BE49-F238E27FC236}">
                  <a16:creationId xmlns:a16="http://schemas.microsoft.com/office/drawing/2014/main" id="{CCA24A20-9989-4263-BCF3-8B2F266431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9" y="1935"/>
              <a:ext cx="429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0" name="Oval 163">
              <a:extLst>
                <a:ext uri="{FF2B5EF4-FFF2-40B4-BE49-F238E27FC236}">
                  <a16:creationId xmlns:a16="http://schemas.microsoft.com/office/drawing/2014/main" id="{8580AD04-CD68-4036-B2A9-2FF1325EC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4" y="2037"/>
              <a:ext cx="385" cy="7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1" name="Oval 164">
              <a:extLst>
                <a:ext uri="{FF2B5EF4-FFF2-40B4-BE49-F238E27FC236}">
                  <a16:creationId xmlns:a16="http://schemas.microsoft.com/office/drawing/2014/main" id="{544C492C-401D-4642-8CAF-DBE6F8A36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7" y="2132"/>
              <a:ext cx="347" cy="7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2" name="Oval 165">
              <a:extLst>
                <a:ext uri="{FF2B5EF4-FFF2-40B4-BE49-F238E27FC236}">
                  <a16:creationId xmlns:a16="http://schemas.microsoft.com/office/drawing/2014/main" id="{BD30F7DD-3282-4D0C-BBA9-3591EE0A4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210"/>
              <a:ext cx="373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3" name="Oval 166">
              <a:extLst>
                <a:ext uri="{FF2B5EF4-FFF2-40B4-BE49-F238E27FC236}">
                  <a16:creationId xmlns:a16="http://schemas.microsoft.com/office/drawing/2014/main" id="{A8E5A15F-92B6-4E2A-9EC4-9F3BA5DEE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2" y="2307"/>
              <a:ext cx="422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4" name="Freeform 167">
              <a:extLst>
                <a:ext uri="{FF2B5EF4-FFF2-40B4-BE49-F238E27FC236}">
                  <a16:creationId xmlns:a16="http://schemas.microsoft.com/office/drawing/2014/main" id="{E76C52BD-EBAC-44CD-A968-9A80385C5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2" y="1875"/>
              <a:ext cx="78" cy="231"/>
            </a:xfrm>
            <a:custGeom>
              <a:avLst/>
              <a:gdLst>
                <a:gd name="T0" fmla="*/ 33 w 33"/>
                <a:gd name="T1" fmla="*/ 97 h 97"/>
                <a:gd name="T2" fmla="*/ 31 w 33"/>
                <a:gd name="T3" fmla="*/ 93 h 97"/>
                <a:gd name="T4" fmla="*/ 27 w 33"/>
                <a:gd name="T5" fmla="*/ 83 h 97"/>
                <a:gd name="T6" fmla="*/ 15 w 33"/>
                <a:gd name="T7" fmla="*/ 49 h 97"/>
                <a:gd name="T8" fmla="*/ 3 w 33"/>
                <a:gd name="T9" fmla="*/ 15 h 97"/>
                <a:gd name="T10" fmla="*/ 1 w 33"/>
                <a:gd name="T11" fmla="*/ 4 h 97"/>
                <a:gd name="T12" fmla="*/ 0 w 33"/>
                <a:gd name="T13" fmla="*/ 0 h 97"/>
                <a:gd name="T14" fmla="*/ 5 w 33"/>
                <a:gd name="T15" fmla="*/ 14 h 97"/>
                <a:gd name="T16" fmla="*/ 17 w 33"/>
                <a:gd name="T17" fmla="*/ 48 h 97"/>
                <a:gd name="T18" fmla="*/ 29 w 33"/>
                <a:gd name="T19" fmla="*/ 82 h 97"/>
                <a:gd name="T20" fmla="*/ 32 w 33"/>
                <a:gd name="T21" fmla="*/ 93 h 97"/>
                <a:gd name="T22" fmla="*/ 33 w 33"/>
                <a:gd name="T2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97">
                  <a:moveTo>
                    <a:pt x="33" y="97"/>
                  </a:moveTo>
                  <a:cubicBezTo>
                    <a:pt x="33" y="97"/>
                    <a:pt x="32" y="96"/>
                    <a:pt x="31" y="93"/>
                  </a:cubicBezTo>
                  <a:cubicBezTo>
                    <a:pt x="30" y="90"/>
                    <a:pt x="29" y="87"/>
                    <a:pt x="27" y="83"/>
                  </a:cubicBezTo>
                  <a:cubicBezTo>
                    <a:pt x="24" y="74"/>
                    <a:pt x="19" y="62"/>
                    <a:pt x="15" y="49"/>
                  </a:cubicBezTo>
                  <a:cubicBezTo>
                    <a:pt x="10" y="36"/>
                    <a:pt x="6" y="24"/>
                    <a:pt x="3" y="15"/>
                  </a:cubicBezTo>
                  <a:cubicBezTo>
                    <a:pt x="2" y="10"/>
                    <a:pt x="1" y="7"/>
                    <a:pt x="1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2" y="5"/>
                    <a:pt x="5" y="14"/>
                  </a:cubicBezTo>
                  <a:cubicBezTo>
                    <a:pt x="8" y="23"/>
                    <a:pt x="12" y="35"/>
                    <a:pt x="17" y="48"/>
                  </a:cubicBezTo>
                  <a:cubicBezTo>
                    <a:pt x="21" y="62"/>
                    <a:pt x="26" y="74"/>
                    <a:pt x="29" y="82"/>
                  </a:cubicBezTo>
                  <a:cubicBezTo>
                    <a:pt x="30" y="87"/>
                    <a:pt x="31" y="90"/>
                    <a:pt x="32" y="93"/>
                  </a:cubicBezTo>
                  <a:cubicBezTo>
                    <a:pt x="33" y="95"/>
                    <a:pt x="33" y="97"/>
                    <a:pt x="33" y="9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177" name="Title 1">
            <a:extLst>
              <a:ext uri="{FF2B5EF4-FFF2-40B4-BE49-F238E27FC236}">
                <a16:creationId xmlns:a16="http://schemas.microsoft.com/office/drawing/2014/main" id="{49030854-1233-4FEF-AA7E-D82C7F8D0ED2}"/>
              </a:ext>
            </a:extLst>
          </p:cNvPr>
          <p:cNvSpPr txBox="1">
            <a:spLocks/>
          </p:cNvSpPr>
          <p:nvPr/>
        </p:nvSpPr>
        <p:spPr>
          <a:xfrm>
            <a:off x="859582" y="1650145"/>
            <a:ext cx="6188232" cy="7568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4500" i="0" u="none" strike="noStrike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DO LIST WEBSITE</a:t>
            </a:r>
            <a:endParaRPr lang="en-US" sz="45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8" name="Rectangle: Top Corners Rounded 177">
            <a:extLst>
              <a:ext uri="{FF2B5EF4-FFF2-40B4-BE49-F238E27FC236}">
                <a16:creationId xmlns:a16="http://schemas.microsoft.com/office/drawing/2014/main" id="{C57338C2-A6F8-47DC-864B-630AF2C2B76C}"/>
              </a:ext>
            </a:extLst>
          </p:cNvPr>
          <p:cNvSpPr/>
          <p:nvPr/>
        </p:nvSpPr>
        <p:spPr>
          <a:xfrm>
            <a:off x="2578717" y="5403639"/>
            <a:ext cx="3198023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10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Rectangle: Top Corners Rounded 175">
            <a:extLst>
              <a:ext uri="{FF2B5EF4-FFF2-40B4-BE49-F238E27FC236}">
                <a16:creationId xmlns:a16="http://schemas.microsoft.com/office/drawing/2014/main" id="{7A57A12B-E0FD-4C84-A6BE-E1E095C46BBD}"/>
              </a:ext>
            </a:extLst>
          </p:cNvPr>
          <p:cNvSpPr/>
          <p:nvPr/>
        </p:nvSpPr>
        <p:spPr>
          <a:xfrm>
            <a:off x="1478088" y="5412376"/>
            <a:ext cx="1495345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33">
            <a:extLst>
              <a:ext uri="{FF2B5EF4-FFF2-40B4-BE49-F238E27FC236}">
                <a16:creationId xmlns:a16="http://schemas.microsoft.com/office/drawing/2014/main" id="{4E391096-3E7A-4614-B15C-44F7B4E582D4}"/>
              </a:ext>
            </a:extLst>
          </p:cNvPr>
          <p:cNvSpPr>
            <a:spLocks/>
          </p:cNvSpPr>
          <p:nvPr/>
        </p:nvSpPr>
        <p:spPr bwMode="auto">
          <a:xfrm>
            <a:off x="482570" y="5233139"/>
            <a:ext cx="257054" cy="545283"/>
          </a:xfrm>
          <a:custGeom>
            <a:avLst/>
            <a:gdLst>
              <a:gd name="T0" fmla="*/ 133 w 207"/>
              <a:gd name="T1" fmla="*/ 0 h 432"/>
              <a:gd name="T2" fmla="*/ 0 w 207"/>
              <a:gd name="T3" fmla="*/ 432 h 432"/>
              <a:gd name="T4" fmla="*/ 79 w 207"/>
              <a:gd name="T5" fmla="*/ 432 h 432"/>
              <a:gd name="T6" fmla="*/ 207 w 207"/>
              <a:gd name="T7" fmla="*/ 31 h 432"/>
              <a:gd name="T8" fmla="*/ 133 w 207"/>
              <a:gd name="T9" fmla="*/ 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432">
                <a:moveTo>
                  <a:pt x="133" y="0"/>
                </a:moveTo>
                <a:lnTo>
                  <a:pt x="0" y="432"/>
                </a:lnTo>
                <a:lnTo>
                  <a:pt x="79" y="432"/>
                </a:lnTo>
                <a:lnTo>
                  <a:pt x="207" y="31"/>
                </a:lnTo>
                <a:lnTo>
                  <a:pt x="133" y="0"/>
                </a:lnTo>
                <a:close/>
              </a:path>
            </a:pathLst>
          </a:custGeom>
          <a:solidFill>
            <a:srgbClr val="0D616C"/>
          </a:solidFill>
          <a:ln w="9525">
            <a:solidFill>
              <a:srgbClr val="002E35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9" name="Freeform 34">
            <a:extLst>
              <a:ext uri="{FF2B5EF4-FFF2-40B4-BE49-F238E27FC236}">
                <a16:creationId xmlns:a16="http://schemas.microsoft.com/office/drawing/2014/main" id="{EA325CB9-2758-09B0-1940-20E5464878F3}"/>
              </a:ext>
            </a:extLst>
          </p:cNvPr>
          <p:cNvSpPr>
            <a:spLocks/>
          </p:cNvSpPr>
          <p:nvPr/>
        </p:nvSpPr>
        <p:spPr bwMode="auto">
          <a:xfrm>
            <a:off x="609234" y="5146045"/>
            <a:ext cx="283132" cy="632377"/>
          </a:xfrm>
          <a:custGeom>
            <a:avLst/>
            <a:gdLst>
              <a:gd name="T0" fmla="*/ 155 w 228"/>
              <a:gd name="T1" fmla="*/ 0 h 501"/>
              <a:gd name="T2" fmla="*/ 0 w 228"/>
              <a:gd name="T3" fmla="*/ 501 h 501"/>
              <a:gd name="T4" fmla="*/ 79 w 228"/>
              <a:gd name="T5" fmla="*/ 501 h 501"/>
              <a:gd name="T6" fmla="*/ 228 w 228"/>
              <a:gd name="T7" fmla="*/ 31 h 501"/>
              <a:gd name="T8" fmla="*/ 155 w 228"/>
              <a:gd name="T9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8" h="501">
                <a:moveTo>
                  <a:pt x="155" y="0"/>
                </a:moveTo>
                <a:lnTo>
                  <a:pt x="0" y="501"/>
                </a:lnTo>
                <a:lnTo>
                  <a:pt x="79" y="501"/>
                </a:lnTo>
                <a:lnTo>
                  <a:pt x="228" y="31"/>
                </a:lnTo>
                <a:lnTo>
                  <a:pt x="155" y="0"/>
                </a:lnTo>
                <a:close/>
              </a:path>
            </a:pathLst>
          </a:custGeom>
          <a:solidFill>
            <a:srgbClr val="0D616C"/>
          </a:solidFill>
          <a:ln w="9525">
            <a:solidFill>
              <a:srgbClr val="002E35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1" name="Freeform 35">
            <a:extLst>
              <a:ext uri="{FF2B5EF4-FFF2-40B4-BE49-F238E27FC236}">
                <a16:creationId xmlns:a16="http://schemas.microsoft.com/office/drawing/2014/main" id="{89E04012-A89E-2A71-5AB1-3E56497BEDAE}"/>
              </a:ext>
            </a:extLst>
          </p:cNvPr>
          <p:cNvSpPr>
            <a:spLocks/>
          </p:cNvSpPr>
          <p:nvPr/>
        </p:nvSpPr>
        <p:spPr bwMode="auto">
          <a:xfrm>
            <a:off x="61597" y="5739293"/>
            <a:ext cx="678028" cy="342064"/>
          </a:xfrm>
          <a:custGeom>
            <a:avLst/>
            <a:gdLst>
              <a:gd name="T0" fmla="*/ 0 w 546"/>
              <a:gd name="T1" fmla="*/ 0 h 271"/>
              <a:gd name="T2" fmla="*/ 78 w 546"/>
              <a:gd name="T3" fmla="*/ 271 h 271"/>
              <a:gd name="T4" fmla="*/ 472 w 546"/>
              <a:gd name="T5" fmla="*/ 271 h 271"/>
              <a:gd name="T6" fmla="*/ 546 w 546"/>
              <a:gd name="T7" fmla="*/ 0 h 271"/>
              <a:gd name="T8" fmla="*/ 0 w 546"/>
              <a:gd name="T9" fmla="*/ 0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46" h="271">
                <a:moveTo>
                  <a:pt x="0" y="0"/>
                </a:moveTo>
                <a:lnTo>
                  <a:pt x="78" y="271"/>
                </a:lnTo>
                <a:lnTo>
                  <a:pt x="472" y="271"/>
                </a:lnTo>
                <a:lnTo>
                  <a:pt x="546" y="0"/>
                </a:lnTo>
                <a:lnTo>
                  <a:pt x="0" y="0"/>
                </a:lnTo>
                <a:close/>
              </a:path>
            </a:pathLst>
          </a:custGeom>
          <a:solidFill>
            <a:srgbClr val="0D616C"/>
          </a:solidFill>
          <a:ln w="9525">
            <a:solidFill>
              <a:srgbClr val="002E35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0" name="Freeform 36">
            <a:extLst>
              <a:ext uri="{FF2B5EF4-FFF2-40B4-BE49-F238E27FC236}">
                <a16:creationId xmlns:a16="http://schemas.microsoft.com/office/drawing/2014/main" id="{379300FA-D37D-C476-8714-DA6BAE59932E}"/>
              </a:ext>
            </a:extLst>
          </p:cNvPr>
          <p:cNvSpPr>
            <a:spLocks/>
          </p:cNvSpPr>
          <p:nvPr/>
        </p:nvSpPr>
        <p:spPr bwMode="auto">
          <a:xfrm>
            <a:off x="72773" y="5034969"/>
            <a:ext cx="242153" cy="704324"/>
          </a:xfrm>
          <a:custGeom>
            <a:avLst/>
            <a:gdLst>
              <a:gd name="T0" fmla="*/ 82 w 82"/>
              <a:gd name="T1" fmla="*/ 235 h 235"/>
              <a:gd name="T2" fmla="*/ 82 w 82"/>
              <a:gd name="T3" fmla="*/ 234 h 235"/>
              <a:gd name="T4" fmla="*/ 81 w 82"/>
              <a:gd name="T5" fmla="*/ 230 h 235"/>
              <a:gd name="T6" fmla="*/ 78 w 82"/>
              <a:gd name="T7" fmla="*/ 217 h 235"/>
              <a:gd name="T8" fmla="*/ 66 w 82"/>
              <a:gd name="T9" fmla="*/ 167 h 235"/>
              <a:gd name="T10" fmla="*/ 29 w 82"/>
              <a:gd name="T11" fmla="*/ 1 h 235"/>
              <a:gd name="T12" fmla="*/ 30 w 82"/>
              <a:gd name="T13" fmla="*/ 2 h 235"/>
              <a:gd name="T14" fmla="*/ 15 w 82"/>
              <a:gd name="T15" fmla="*/ 2 h 235"/>
              <a:gd name="T16" fmla="*/ 1 w 82"/>
              <a:gd name="T17" fmla="*/ 2 h 235"/>
              <a:gd name="T18" fmla="*/ 2 w 82"/>
              <a:gd name="T19" fmla="*/ 0 h 235"/>
              <a:gd name="T20" fmla="*/ 39 w 82"/>
              <a:gd name="T21" fmla="*/ 167 h 235"/>
              <a:gd name="T22" fmla="*/ 50 w 82"/>
              <a:gd name="T23" fmla="*/ 217 h 235"/>
              <a:gd name="T24" fmla="*/ 53 w 82"/>
              <a:gd name="T25" fmla="*/ 230 h 235"/>
              <a:gd name="T26" fmla="*/ 54 w 82"/>
              <a:gd name="T27" fmla="*/ 234 h 235"/>
              <a:gd name="T28" fmla="*/ 54 w 82"/>
              <a:gd name="T29" fmla="*/ 235 h 235"/>
              <a:gd name="T30" fmla="*/ 54 w 82"/>
              <a:gd name="T31" fmla="*/ 234 h 235"/>
              <a:gd name="T32" fmla="*/ 53 w 82"/>
              <a:gd name="T33" fmla="*/ 230 h 235"/>
              <a:gd name="T34" fmla="*/ 50 w 82"/>
              <a:gd name="T35" fmla="*/ 217 h 235"/>
              <a:gd name="T36" fmla="*/ 38 w 82"/>
              <a:gd name="T37" fmla="*/ 167 h 235"/>
              <a:gd name="T38" fmla="*/ 0 w 82"/>
              <a:gd name="T39" fmla="*/ 1 h 235"/>
              <a:gd name="T40" fmla="*/ 0 w 82"/>
              <a:gd name="T41" fmla="*/ 0 h 235"/>
              <a:gd name="T42" fmla="*/ 1 w 82"/>
              <a:gd name="T43" fmla="*/ 0 h 235"/>
              <a:gd name="T44" fmla="*/ 15 w 82"/>
              <a:gd name="T45" fmla="*/ 0 h 235"/>
              <a:gd name="T46" fmla="*/ 30 w 82"/>
              <a:gd name="T47" fmla="*/ 0 h 235"/>
              <a:gd name="T48" fmla="*/ 31 w 82"/>
              <a:gd name="T49" fmla="*/ 0 h 235"/>
              <a:gd name="T50" fmla="*/ 31 w 82"/>
              <a:gd name="T51" fmla="*/ 0 h 235"/>
              <a:gd name="T52" fmla="*/ 68 w 82"/>
              <a:gd name="T53" fmla="*/ 167 h 235"/>
              <a:gd name="T54" fmla="*/ 78 w 82"/>
              <a:gd name="T55" fmla="*/ 217 h 235"/>
              <a:gd name="T56" fmla="*/ 81 w 82"/>
              <a:gd name="T57" fmla="*/ 230 h 235"/>
              <a:gd name="T58" fmla="*/ 82 w 82"/>
              <a:gd name="T59" fmla="*/ 234 h 235"/>
              <a:gd name="T60" fmla="*/ 82 w 82"/>
              <a:gd name="T61" fmla="*/ 23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2" h="235">
                <a:moveTo>
                  <a:pt x="82" y="235"/>
                </a:moveTo>
                <a:cubicBezTo>
                  <a:pt x="82" y="235"/>
                  <a:pt x="82" y="235"/>
                  <a:pt x="82" y="234"/>
                </a:cubicBezTo>
                <a:cubicBezTo>
                  <a:pt x="81" y="233"/>
                  <a:pt x="81" y="232"/>
                  <a:pt x="81" y="230"/>
                </a:cubicBezTo>
                <a:cubicBezTo>
                  <a:pt x="80" y="227"/>
                  <a:pt x="79" y="223"/>
                  <a:pt x="78" y="217"/>
                </a:cubicBezTo>
                <a:cubicBezTo>
                  <a:pt x="75" y="205"/>
                  <a:pt x="71" y="188"/>
                  <a:pt x="66" y="167"/>
                </a:cubicBezTo>
                <a:cubicBezTo>
                  <a:pt x="57" y="125"/>
                  <a:pt x="44" y="66"/>
                  <a:pt x="29" y="1"/>
                </a:cubicBezTo>
                <a:cubicBezTo>
                  <a:pt x="30" y="2"/>
                  <a:pt x="30" y="2"/>
                  <a:pt x="30" y="2"/>
                </a:cubicBezTo>
                <a:cubicBezTo>
                  <a:pt x="25" y="2"/>
                  <a:pt x="20" y="2"/>
                  <a:pt x="15" y="2"/>
                </a:cubicBezTo>
                <a:cubicBezTo>
                  <a:pt x="10" y="2"/>
                  <a:pt x="5" y="2"/>
                  <a:pt x="1" y="2"/>
                </a:cubicBezTo>
                <a:cubicBezTo>
                  <a:pt x="2" y="0"/>
                  <a:pt x="2" y="0"/>
                  <a:pt x="2" y="0"/>
                </a:cubicBezTo>
                <a:cubicBezTo>
                  <a:pt x="17" y="66"/>
                  <a:pt x="30" y="124"/>
                  <a:pt x="39" y="167"/>
                </a:cubicBezTo>
                <a:cubicBezTo>
                  <a:pt x="44" y="188"/>
                  <a:pt x="48" y="205"/>
                  <a:pt x="50" y="217"/>
                </a:cubicBezTo>
                <a:cubicBezTo>
                  <a:pt x="52" y="223"/>
                  <a:pt x="53" y="227"/>
                  <a:pt x="53" y="230"/>
                </a:cubicBezTo>
                <a:cubicBezTo>
                  <a:pt x="54" y="232"/>
                  <a:pt x="54" y="233"/>
                  <a:pt x="54" y="234"/>
                </a:cubicBezTo>
                <a:cubicBezTo>
                  <a:pt x="54" y="235"/>
                  <a:pt x="54" y="235"/>
                  <a:pt x="54" y="235"/>
                </a:cubicBezTo>
                <a:cubicBezTo>
                  <a:pt x="54" y="235"/>
                  <a:pt x="54" y="235"/>
                  <a:pt x="54" y="234"/>
                </a:cubicBezTo>
                <a:cubicBezTo>
                  <a:pt x="54" y="233"/>
                  <a:pt x="53" y="232"/>
                  <a:pt x="53" y="230"/>
                </a:cubicBezTo>
                <a:cubicBezTo>
                  <a:pt x="52" y="227"/>
                  <a:pt x="51" y="223"/>
                  <a:pt x="50" y="217"/>
                </a:cubicBezTo>
                <a:cubicBezTo>
                  <a:pt x="47" y="205"/>
                  <a:pt x="43" y="188"/>
                  <a:pt x="38" y="167"/>
                </a:cubicBezTo>
                <a:cubicBezTo>
                  <a:pt x="28" y="125"/>
                  <a:pt x="15" y="66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1" y="0"/>
                  <a:pt x="1" y="0"/>
                  <a:pt x="1" y="0"/>
                </a:cubicBezTo>
                <a:cubicBezTo>
                  <a:pt x="5" y="0"/>
                  <a:pt x="10" y="0"/>
                  <a:pt x="15" y="0"/>
                </a:cubicBezTo>
                <a:cubicBezTo>
                  <a:pt x="20" y="0"/>
                  <a:pt x="25" y="0"/>
                  <a:pt x="30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45" y="66"/>
                  <a:pt x="58" y="124"/>
                  <a:pt x="68" y="167"/>
                </a:cubicBezTo>
                <a:cubicBezTo>
                  <a:pt x="72" y="188"/>
                  <a:pt x="76" y="205"/>
                  <a:pt x="78" y="217"/>
                </a:cubicBezTo>
                <a:cubicBezTo>
                  <a:pt x="80" y="223"/>
                  <a:pt x="80" y="227"/>
                  <a:pt x="81" y="230"/>
                </a:cubicBezTo>
                <a:cubicBezTo>
                  <a:pt x="81" y="232"/>
                  <a:pt x="82" y="233"/>
                  <a:pt x="82" y="234"/>
                </a:cubicBezTo>
                <a:cubicBezTo>
                  <a:pt x="82" y="235"/>
                  <a:pt x="82" y="235"/>
                  <a:pt x="82" y="235"/>
                </a:cubicBez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3" name="Freeform 46">
            <a:extLst>
              <a:ext uri="{FF2B5EF4-FFF2-40B4-BE49-F238E27FC236}">
                <a16:creationId xmlns:a16="http://schemas.microsoft.com/office/drawing/2014/main" id="{04157217-E779-43CB-FE3E-8E7A2A9919EA}"/>
              </a:ext>
            </a:extLst>
          </p:cNvPr>
          <p:cNvSpPr>
            <a:spLocks/>
          </p:cNvSpPr>
          <p:nvPr/>
        </p:nvSpPr>
        <p:spPr bwMode="auto">
          <a:xfrm>
            <a:off x="0" y="3419175"/>
            <a:ext cx="924209" cy="1500791"/>
          </a:xfrm>
          <a:custGeom>
            <a:avLst/>
            <a:gdLst>
              <a:gd name="T0" fmla="*/ 274 w 320"/>
              <a:gd name="T1" fmla="*/ 0 h 501"/>
              <a:gd name="T2" fmla="*/ 221 w 320"/>
              <a:gd name="T3" fmla="*/ 26 h 501"/>
              <a:gd name="T4" fmla="*/ 186 w 320"/>
              <a:gd name="T5" fmla="*/ 76 h 501"/>
              <a:gd name="T6" fmla="*/ 178 w 320"/>
              <a:gd name="T7" fmla="*/ 89 h 501"/>
              <a:gd name="T8" fmla="*/ 177 w 320"/>
              <a:gd name="T9" fmla="*/ 91 h 501"/>
              <a:gd name="T10" fmla="*/ 149 w 320"/>
              <a:gd name="T11" fmla="*/ 125 h 501"/>
              <a:gd name="T12" fmla="*/ 136 w 320"/>
              <a:gd name="T13" fmla="*/ 131 h 501"/>
              <a:gd name="T14" fmla="*/ 133 w 320"/>
              <a:gd name="T15" fmla="*/ 130 h 501"/>
              <a:gd name="T16" fmla="*/ 125 w 320"/>
              <a:gd name="T17" fmla="*/ 115 h 501"/>
              <a:gd name="T18" fmla="*/ 125 w 320"/>
              <a:gd name="T19" fmla="*/ 115 h 501"/>
              <a:gd name="T20" fmla="*/ 126 w 320"/>
              <a:gd name="T21" fmla="*/ 101 h 501"/>
              <a:gd name="T22" fmla="*/ 126 w 320"/>
              <a:gd name="T23" fmla="*/ 98 h 501"/>
              <a:gd name="T24" fmla="*/ 100 w 320"/>
              <a:gd name="T25" fmla="*/ 77 h 501"/>
              <a:gd name="T26" fmla="*/ 94 w 320"/>
              <a:gd name="T27" fmla="*/ 78 h 501"/>
              <a:gd name="T28" fmla="*/ 67 w 320"/>
              <a:gd name="T29" fmla="*/ 101 h 501"/>
              <a:gd name="T30" fmla="*/ 65 w 320"/>
              <a:gd name="T31" fmla="*/ 105 h 501"/>
              <a:gd name="T32" fmla="*/ 62 w 320"/>
              <a:gd name="T33" fmla="*/ 114 h 501"/>
              <a:gd name="T34" fmla="*/ 58 w 320"/>
              <a:gd name="T35" fmla="*/ 147 h 501"/>
              <a:gd name="T36" fmla="*/ 53 w 320"/>
              <a:gd name="T37" fmla="*/ 226 h 501"/>
              <a:gd name="T38" fmla="*/ 37 w 320"/>
              <a:gd name="T39" fmla="*/ 263 h 501"/>
              <a:gd name="T40" fmla="*/ 28 w 320"/>
              <a:gd name="T41" fmla="*/ 265 h 501"/>
              <a:gd name="T42" fmla="*/ 25 w 320"/>
              <a:gd name="T43" fmla="*/ 265 h 501"/>
              <a:gd name="T44" fmla="*/ 19 w 320"/>
              <a:gd name="T45" fmla="*/ 264 h 501"/>
              <a:gd name="T46" fmla="*/ 8 w 320"/>
              <a:gd name="T47" fmla="*/ 258 h 501"/>
              <a:gd name="T48" fmla="*/ 7 w 320"/>
              <a:gd name="T49" fmla="*/ 258 h 501"/>
              <a:gd name="T50" fmla="*/ 5 w 320"/>
              <a:gd name="T51" fmla="*/ 257 h 501"/>
              <a:gd name="T52" fmla="*/ 0 w 320"/>
              <a:gd name="T53" fmla="*/ 253 h 501"/>
              <a:gd name="T54" fmla="*/ 0 w 320"/>
              <a:gd name="T55" fmla="*/ 492 h 501"/>
              <a:gd name="T56" fmla="*/ 53 w 320"/>
              <a:gd name="T57" fmla="*/ 501 h 501"/>
              <a:gd name="T58" fmla="*/ 115 w 320"/>
              <a:gd name="T59" fmla="*/ 491 h 501"/>
              <a:gd name="T60" fmla="*/ 237 w 320"/>
              <a:gd name="T61" fmla="*/ 418 h 501"/>
              <a:gd name="T62" fmla="*/ 260 w 320"/>
              <a:gd name="T63" fmla="*/ 384 h 501"/>
              <a:gd name="T64" fmla="*/ 264 w 320"/>
              <a:gd name="T65" fmla="*/ 365 h 501"/>
              <a:gd name="T66" fmla="*/ 258 w 320"/>
              <a:gd name="T67" fmla="*/ 345 h 501"/>
              <a:gd name="T68" fmla="*/ 221 w 320"/>
              <a:gd name="T69" fmla="*/ 327 h 501"/>
              <a:gd name="T70" fmla="*/ 202 w 320"/>
              <a:gd name="T71" fmla="*/ 330 h 501"/>
              <a:gd name="T72" fmla="*/ 170 w 320"/>
              <a:gd name="T73" fmla="*/ 340 h 501"/>
              <a:gd name="T74" fmla="*/ 166 w 320"/>
              <a:gd name="T75" fmla="*/ 340 h 501"/>
              <a:gd name="T76" fmla="*/ 142 w 320"/>
              <a:gd name="T77" fmla="*/ 326 h 501"/>
              <a:gd name="T78" fmla="*/ 141 w 320"/>
              <a:gd name="T79" fmla="*/ 319 h 501"/>
              <a:gd name="T80" fmla="*/ 153 w 320"/>
              <a:gd name="T81" fmla="*/ 297 h 501"/>
              <a:gd name="T82" fmla="*/ 183 w 320"/>
              <a:gd name="T83" fmla="*/ 285 h 501"/>
              <a:gd name="T84" fmla="*/ 266 w 320"/>
              <a:gd name="T85" fmla="*/ 244 h 501"/>
              <a:gd name="T86" fmla="*/ 288 w 320"/>
              <a:gd name="T87" fmla="*/ 212 h 501"/>
              <a:gd name="T88" fmla="*/ 287 w 320"/>
              <a:gd name="T89" fmla="*/ 206 h 501"/>
              <a:gd name="T90" fmla="*/ 261 w 320"/>
              <a:gd name="T91" fmla="*/ 187 h 501"/>
              <a:gd name="T92" fmla="*/ 229 w 320"/>
              <a:gd name="T93" fmla="*/ 181 h 501"/>
              <a:gd name="T94" fmla="*/ 214 w 320"/>
              <a:gd name="T95" fmla="*/ 163 h 501"/>
              <a:gd name="T96" fmla="*/ 215 w 320"/>
              <a:gd name="T97" fmla="*/ 159 h 501"/>
              <a:gd name="T98" fmla="*/ 227 w 320"/>
              <a:gd name="T99" fmla="*/ 148 h 501"/>
              <a:gd name="T100" fmla="*/ 297 w 320"/>
              <a:gd name="T101" fmla="*/ 89 h 501"/>
              <a:gd name="T102" fmla="*/ 320 w 320"/>
              <a:gd name="T103" fmla="*/ 42 h 501"/>
              <a:gd name="T104" fmla="*/ 320 w 320"/>
              <a:gd name="T105" fmla="*/ 35 h 501"/>
              <a:gd name="T106" fmla="*/ 275 w 320"/>
              <a:gd name="T107" fmla="*/ 0 h 501"/>
              <a:gd name="T108" fmla="*/ 274 w 320"/>
              <a:gd name="T109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20" h="501">
                <a:moveTo>
                  <a:pt x="274" y="0"/>
                </a:moveTo>
                <a:cubicBezTo>
                  <a:pt x="254" y="0"/>
                  <a:pt x="235" y="11"/>
                  <a:pt x="221" y="26"/>
                </a:cubicBezTo>
                <a:cubicBezTo>
                  <a:pt x="207" y="40"/>
                  <a:pt x="197" y="58"/>
                  <a:pt x="186" y="76"/>
                </a:cubicBezTo>
                <a:cubicBezTo>
                  <a:pt x="183" y="80"/>
                  <a:pt x="181" y="85"/>
                  <a:pt x="178" y="89"/>
                </a:cubicBezTo>
                <a:cubicBezTo>
                  <a:pt x="178" y="90"/>
                  <a:pt x="177" y="90"/>
                  <a:pt x="177" y="91"/>
                </a:cubicBezTo>
                <a:cubicBezTo>
                  <a:pt x="169" y="103"/>
                  <a:pt x="160" y="115"/>
                  <a:pt x="149" y="125"/>
                </a:cubicBezTo>
                <a:cubicBezTo>
                  <a:pt x="145" y="128"/>
                  <a:pt x="141" y="131"/>
                  <a:pt x="136" y="131"/>
                </a:cubicBezTo>
                <a:cubicBezTo>
                  <a:pt x="135" y="131"/>
                  <a:pt x="134" y="130"/>
                  <a:pt x="133" y="130"/>
                </a:cubicBezTo>
                <a:cubicBezTo>
                  <a:pt x="128" y="128"/>
                  <a:pt x="125" y="121"/>
                  <a:pt x="125" y="115"/>
                </a:cubicBezTo>
                <a:cubicBezTo>
                  <a:pt x="125" y="115"/>
                  <a:pt x="125" y="115"/>
                  <a:pt x="125" y="115"/>
                </a:cubicBezTo>
                <a:cubicBezTo>
                  <a:pt x="125" y="111"/>
                  <a:pt x="126" y="106"/>
                  <a:pt x="126" y="101"/>
                </a:cubicBezTo>
                <a:cubicBezTo>
                  <a:pt x="126" y="100"/>
                  <a:pt x="126" y="99"/>
                  <a:pt x="126" y="98"/>
                </a:cubicBezTo>
                <a:cubicBezTo>
                  <a:pt x="124" y="86"/>
                  <a:pt x="112" y="77"/>
                  <a:pt x="100" y="77"/>
                </a:cubicBezTo>
                <a:cubicBezTo>
                  <a:pt x="98" y="77"/>
                  <a:pt x="96" y="77"/>
                  <a:pt x="94" y="78"/>
                </a:cubicBezTo>
                <a:cubicBezTo>
                  <a:pt x="82" y="80"/>
                  <a:pt x="73" y="89"/>
                  <a:pt x="67" y="101"/>
                </a:cubicBezTo>
                <a:cubicBezTo>
                  <a:pt x="66" y="102"/>
                  <a:pt x="66" y="104"/>
                  <a:pt x="65" y="105"/>
                </a:cubicBezTo>
                <a:cubicBezTo>
                  <a:pt x="64" y="108"/>
                  <a:pt x="63" y="111"/>
                  <a:pt x="62" y="114"/>
                </a:cubicBezTo>
                <a:cubicBezTo>
                  <a:pt x="59" y="125"/>
                  <a:pt x="58" y="136"/>
                  <a:pt x="58" y="147"/>
                </a:cubicBezTo>
                <a:cubicBezTo>
                  <a:pt x="56" y="173"/>
                  <a:pt x="54" y="200"/>
                  <a:pt x="53" y="226"/>
                </a:cubicBezTo>
                <a:cubicBezTo>
                  <a:pt x="52" y="240"/>
                  <a:pt x="49" y="257"/>
                  <a:pt x="37" y="263"/>
                </a:cubicBezTo>
                <a:cubicBezTo>
                  <a:pt x="34" y="264"/>
                  <a:pt x="31" y="265"/>
                  <a:pt x="28" y="265"/>
                </a:cubicBezTo>
                <a:cubicBezTo>
                  <a:pt x="27" y="265"/>
                  <a:pt x="26" y="265"/>
                  <a:pt x="25" y="265"/>
                </a:cubicBezTo>
                <a:cubicBezTo>
                  <a:pt x="23" y="265"/>
                  <a:pt x="21" y="264"/>
                  <a:pt x="19" y="264"/>
                </a:cubicBezTo>
                <a:cubicBezTo>
                  <a:pt x="15" y="262"/>
                  <a:pt x="11" y="260"/>
                  <a:pt x="8" y="258"/>
                </a:cubicBezTo>
                <a:cubicBezTo>
                  <a:pt x="7" y="258"/>
                  <a:pt x="7" y="258"/>
                  <a:pt x="7" y="258"/>
                </a:cubicBezTo>
                <a:cubicBezTo>
                  <a:pt x="6" y="257"/>
                  <a:pt x="6" y="257"/>
                  <a:pt x="5" y="257"/>
                </a:cubicBezTo>
                <a:cubicBezTo>
                  <a:pt x="3" y="256"/>
                  <a:pt x="1" y="254"/>
                  <a:pt x="0" y="253"/>
                </a:cubicBezTo>
                <a:cubicBezTo>
                  <a:pt x="0" y="492"/>
                  <a:pt x="0" y="492"/>
                  <a:pt x="0" y="492"/>
                </a:cubicBezTo>
                <a:cubicBezTo>
                  <a:pt x="17" y="498"/>
                  <a:pt x="35" y="501"/>
                  <a:pt x="53" y="501"/>
                </a:cubicBezTo>
                <a:cubicBezTo>
                  <a:pt x="73" y="501"/>
                  <a:pt x="94" y="497"/>
                  <a:pt x="115" y="491"/>
                </a:cubicBezTo>
                <a:cubicBezTo>
                  <a:pt x="161" y="479"/>
                  <a:pt x="203" y="452"/>
                  <a:pt x="237" y="418"/>
                </a:cubicBezTo>
                <a:cubicBezTo>
                  <a:pt x="246" y="408"/>
                  <a:pt x="255" y="397"/>
                  <a:pt x="260" y="384"/>
                </a:cubicBezTo>
                <a:cubicBezTo>
                  <a:pt x="263" y="378"/>
                  <a:pt x="264" y="372"/>
                  <a:pt x="264" y="365"/>
                </a:cubicBezTo>
                <a:cubicBezTo>
                  <a:pt x="264" y="358"/>
                  <a:pt x="262" y="351"/>
                  <a:pt x="258" y="345"/>
                </a:cubicBezTo>
                <a:cubicBezTo>
                  <a:pt x="250" y="332"/>
                  <a:pt x="236" y="327"/>
                  <a:pt x="221" y="327"/>
                </a:cubicBezTo>
                <a:cubicBezTo>
                  <a:pt x="215" y="327"/>
                  <a:pt x="208" y="328"/>
                  <a:pt x="202" y="330"/>
                </a:cubicBezTo>
                <a:cubicBezTo>
                  <a:pt x="192" y="333"/>
                  <a:pt x="181" y="338"/>
                  <a:pt x="170" y="340"/>
                </a:cubicBezTo>
                <a:cubicBezTo>
                  <a:pt x="169" y="340"/>
                  <a:pt x="168" y="340"/>
                  <a:pt x="166" y="340"/>
                </a:cubicBezTo>
                <a:cubicBezTo>
                  <a:pt x="156" y="340"/>
                  <a:pt x="146" y="336"/>
                  <a:pt x="142" y="326"/>
                </a:cubicBezTo>
                <a:cubicBezTo>
                  <a:pt x="141" y="324"/>
                  <a:pt x="141" y="322"/>
                  <a:pt x="141" y="319"/>
                </a:cubicBezTo>
                <a:cubicBezTo>
                  <a:pt x="141" y="311"/>
                  <a:pt x="146" y="302"/>
                  <a:pt x="153" y="297"/>
                </a:cubicBezTo>
                <a:cubicBezTo>
                  <a:pt x="161" y="290"/>
                  <a:pt x="173" y="288"/>
                  <a:pt x="183" y="285"/>
                </a:cubicBezTo>
                <a:cubicBezTo>
                  <a:pt x="213" y="276"/>
                  <a:pt x="241" y="262"/>
                  <a:pt x="266" y="244"/>
                </a:cubicBezTo>
                <a:cubicBezTo>
                  <a:pt x="277" y="236"/>
                  <a:pt x="288" y="225"/>
                  <a:pt x="288" y="212"/>
                </a:cubicBezTo>
                <a:cubicBezTo>
                  <a:pt x="288" y="210"/>
                  <a:pt x="288" y="208"/>
                  <a:pt x="287" y="206"/>
                </a:cubicBezTo>
                <a:cubicBezTo>
                  <a:pt x="284" y="195"/>
                  <a:pt x="272" y="189"/>
                  <a:pt x="261" y="187"/>
                </a:cubicBezTo>
                <a:cubicBezTo>
                  <a:pt x="250" y="185"/>
                  <a:pt x="239" y="186"/>
                  <a:pt x="229" y="181"/>
                </a:cubicBezTo>
                <a:cubicBezTo>
                  <a:pt x="221" y="178"/>
                  <a:pt x="214" y="171"/>
                  <a:pt x="214" y="163"/>
                </a:cubicBezTo>
                <a:cubicBezTo>
                  <a:pt x="214" y="162"/>
                  <a:pt x="214" y="160"/>
                  <a:pt x="215" y="159"/>
                </a:cubicBezTo>
                <a:cubicBezTo>
                  <a:pt x="217" y="153"/>
                  <a:pt x="222" y="150"/>
                  <a:pt x="227" y="148"/>
                </a:cubicBezTo>
                <a:cubicBezTo>
                  <a:pt x="253" y="132"/>
                  <a:pt x="276" y="112"/>
                  <a:pt x="297" y="89"/>
                </a:cubicBezTo>
                <a:cubicBezTo>
                  <a:pt x="309" y="76"/>
                  <a:pt x="320" y="59"/>
                  <a:pt x="320" y="42"/>
                </a:cubicBezTo>
                <a:cubicBezTo>
                  <a:pt x="320" y="39"/>
                  <a:pt x="320" y="37"/>
                  <a:pt x="320" y="35"/>
                </a:cubicBezTo>
                <a:cubicBezTo>
                  <a:pt x="316" y="14"/>
                  <a:pt x="295" y="0"/>
                  <a:pt x="275" y="0"/>
                </a:cubicBezTo>
                <a:cubicBezTo>
                  <a:pt x="275" y="0"/>
                  <a:pt x="274" y="0"/>
                  <a:pt x="274" y="0"/>
                </a:cubicBezTo>
              </a:path>
            </a:pathLst>
          </a:custGeom>
          <a:solidFill>
            <a:srgbClr val="002E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4" name="Freeform 47">
            <a:extLst>
              <a:ext uri="{FF2B5EF4-FFF2-40B4-BE49-F238E27FC236}">
                <a16:creationId xmlns:a16="http://schemas.microsoft.com/office/drawing/2014/main" id="{C78AAA48-71E3-EE14-7BF0-DAEBAF7B67F8}"/>
              </a:ext>
            </a:extLst>
          </p:cNvPr>
          <p:cNvSpPr>
            <a:spLocks/>
          </p:cNvSpPr>
          <p:nvPr/>
        </p:nvSpPr>
        <p:spPr bwMode="auto">
          <a:xfrm>
            <a:off x="-75447" y="3430895"/>
            <a:ext cx="952468" cy="1603032"/>
          </a:xfrm>
          <a:custGeom>
            <a:avLst/>
            <a:gdLst>
              <a:gd name="T0" fmla="*/ 0 w 323"/>
              <a:gd name="T1" fmla="*/ 535 h 535"/>
              <a:gd name="T2" fmla="*/ 31 w 323"/>
              <a:gd name="T3" fmla="*/ 420 h 535"/>
              <a:gd name="T4" fmla="*/ 91 w 323"/>
              <a:gd name="T5" fmla="*/ 287 h 535"/>
              <a:gd name="T6" fmla="*/ 108 w 323"/>
              <a:gd name="T7" fmla="*/ 253 h 535"/>
              <a:gd name="T8" fmla="*/ 126 w 323"/>
              <a:gd name="T9" fmla="*/ 221 h 535"/>
              <a:gd name="T10" fmla="*/ 165 w 323"/>
              <a:gd name="T11" fmla="*/ 162 h 535"/>
              <a:gd name="T12" fmla="*/ 204 w 323"/>
              <a:gd name="T13" fmla="*/ 113 h 535"/>
              <a:gd name="T14" fmla="*/ 240 w 323"/>
              <a:gd name="T15" fmla="*/ 71 h 535"/>
              <a:gd name="T16" fmla="*/ 299 w 323"/>
              <a:gd name="T17" fmla="*/ 17 h 535"/>
              <a:gd name="T18" fmla="*/ 316 w 323"/>
              <a:gd name="T19" fmla="*/ 4 h 535"/>
              <a:gd name="T20" fmla="*/ 321 w 323"/>
              <a:gd name="T21" fmla="*/ 1 h 535"/>
              <a:gd name="T22" fmla="*/ 323 w 323"/>
              <a:gd name="T23" fmla="*/ 0 h 535"/>
              <a:gd name="T24" fmla="*/ 321 w 323"/>
              <a:gd name="T25" fmla="*/ 1 h 535"/>
              <a:gd name="T26" fmla="*/ 317 w 323"/>
              <a:gd name="T27" fmla="*/ 4 h 535"/>
              <a:gd name="T28" fmla="*/ 300 w 323"/>
              <a:gd name="T29" fmla="*/ 18 h 535"/>
              <a:gd name="T30" fmla="*/ 242 w 323"/>
              <a:gd name="T31" fmla="*/ 72 h 535"/>
              <a:gd name="T32" fmla="*/ 206 w 323"/>
              <a:gd name="T33" fmla="*/ 114 h 535"/>
              <a:gd name="T34" fmla="*/ 167 w 323"/>
              <a:gd name="T35" fmla="*/ 164 h 535"/>
              <a:gd name="T36" fmla="*/ 128 w 323"/>
              <a:gd name="T37" fmla="*/ 222 h 535"/>
              <a:gd name="T38" fmla="*/ 110 w 323"/>
              <a:gd name="T39" fmla="*/ 254 h 535"/>
              <a:gd name="T40" fmla="*/ 93 w 323"/>
              <a:gd name="T41" fmla="*/ 288 h 535"/>
              <a:gd name="T42" fmla="*/ 33 w 323"/>
              <a:gd name="T43" fmla="*/ 421 h 535"/>
              <a:gd name="T44" fmla="*/ 2 w 323"/>
              <a:gd name="T45" fmla="*/ 535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23" h="535">
                <a:moveTo>
                  <a:pt x="0" y="535"/>
                </a:moveTo>
                <a:cubicBezTo>
                  <a:pt x="5" y="501"/>
                  <a:pt x="15" y="462"/>
                  <a:pt x="31" y="420"/>
                </a:cubicBezTo>
                <a:cubicBezTo>
                  <a:pt x="46" y="378"/>
                  <a:pt x="67" y="333"/>
                  <a:pt x="91" y="287"/>
                </a:cubicBezTo>
                <a:cubicBezTo>
                  <a:pt x="96" y="276"/>
                  <a:pt x="102" y="264"/>
                  <a:pt x="108" y="253"/>
                </a:cubicBezTo>
                <a:cubicBezTo>
                  <a:pt x="114" y="242"/>
                  <a:pt x="119" y="231"/>
                  <a:pt x="126" y="221"/>
                </a:cubicBezTo>
                <a:cubicBezTo>
                  <a:pt x="138" y="200"/>
                  <a:pt x="151" y="180"/>
                  <a:pt x="165" y="162"/>
                </a:cubicBezTo>
                <a:cubicBezTo>
                  <a:pt x="178" y="145"/>
                  <a:pt x="192" y="128"/>
                  <a:pt x="204" y="113"/>
                </a:cubicBezTo>
                <a:cubicBezTo>
                  <a:pt x="217" y="97"/>
                  <a:pt x="229" y="83"/>
                  <a:pt x="240" y="71"/>
                </a:cubicBezTo>
                <a:cubicBezTo>
                  <a:pt x="263" y="46"/>
                  <a:pt x="284" y="29"/>
                  <a:pt x="299" y="17"/>
                </a:cubicBezTo>
                <a:cubicBezTo>
                  <a:pt x="306" y="11"/>
                  <a:pt x="312" y="7"/>
                  <a:pt x="316" y="4"/>
                </a:cubicBezTo>
                <a:cubicBezTo>
                  <a:pt x="318" y="3"/>
                  <a:pt x="320" y="2"/>
                  <a:pt x="321" y="1"/>
                </a:cubicBezTo>
                <a:cubicBezTo>
                  <a:pt x="322" y="0"/>
                  <a:pt x="323" y="0"/>
                  <a:pt x="323" y="0"/>
                </a:cubicBezTo>
                <a:cubicBezTo>
                  <a:pt x="323" y="0"/>
                  <a:pt x="322" y="0"/>
                  <a:pt x="321" y="1"/>
                </a:cubicBezTo>
                <a:cubicBezTo>
                  <a:pt x="320" y="2"/>
                  <a:pt x="318" y="3"/>
                  <a:pt x="317" y="4"/>
                </a:cubicBezTo>
                <a:cubicBezTo>
                  <a:pt x="313" y="8"/>
                  <a:pt x="307" y="12"/>
                  <a:pt x="300" y="18"/>
                </a:cubicBezTo>
                <a:cubicBezTo>
                  <a:pt x="285" y="30"/>
                  <a:pt x="264" y="48"/>
                  <a:pt x="242" y="72"/>
                </a:cubicBezTo>
                <a:cubicBezTo>
                  <a:pt x="230" y="85"/>
                  <a:pt x="218" y="99"/>
                  <a:pt x="206" y="114"/>
                </a:cubicBezTo>
                <a:cubicBezTo>
                  <a:pt x="193" y="130"/>
                  <a:pt x="180" y="146"/>
                  <a:pt x="167" y="164"/>
                </a:cubicBezTo>
                <a:cubicBezTo>
                  <a:pt x="153" y="182"/>
                  <a:pt x="140" y="201"/>
                  <a:pt x="128" y="222"/>
                </a:cubicBezTo>
                <a:cubicBezTo>
                  <a:pt x="122" y="232"/>
                  <a:pt x="116" y="243"/>
                  <a:pt x="110" y="254"/>
                </a:cubicBezTo>
                <a:cubicBezTo>
                  <a:pt x="105" y="266"/>
                  <a:pt x="99" y="277"/>
                  <a:pt x="93" y="288"/>
                </a:cubicBezTo>
                <a:cubicBezTo>
                  <a:pt x="70" y="334"/>
                  <a:pt x="49" y="379"/>
                  <a:pt x="33" y="421"/>
                </a:cubicBezTo>
                <a:cubicBezTo>
                  <a:pt x="18" y="463"/>
                  <a:pt x="7" y="502"/>
                  <a:pt x="2" y="53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6762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1"/>
            <a:ext cx="12192000" cy="102845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485" y="61500"/>
            <a:ext cx="11136086" cy="970189"/>
          </a:xfrm>
        </p:spPr>
        <p:txBody>
          <a:bodyPr>
            <a:normAutofit/>
          </a:bodyPr>
          <a:lstStyle/>
          <a:p>
            <a:pPr algn="ctr"/>
            <a:r>
              <a:rPr lang="en-US" sz="35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STING OF THE CODE</a:t>
            </a:r>
            <a:endParaRPr lang="en-ID" sz="35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0</a:t>
            </a:fld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D39E27-4AA9-4FC3-ACEB-3D4B8B5A727A}"/>
              </a:ext>
            </a:extLst>
          </p:cNvPr>
          <p:cNvSpPr txBox="1"/>
          <p:nvPr/>
        </p:nvSpPr>
        <p:spPr>
          <a:xfrm>
            <a:off x="1727200" y="2814781"/>
            <a:ext cx="3865880" cy="3551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in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9BDF187-3E45-ED98-16B6-449BEB7663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89953"/>
            <a:ext cx="5438954" cy="2289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6B0300E-4067-0BC0-8DF2-805552661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182610"/>
            <a:ext cx="5713059" cy="2289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E0D659B-8559-B0E0-763D-2153B29F6C6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7" t="6844" r="12024" b="38187"/>
          <a:stretch/>
        </p:blipFill>
        <p:spPr>
          <a:xfrm>
            <a:off x="1415143" y="3530069"/>
            <a:ext cx="9158514" cy="319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0346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6E83B685-4022-4E87-A193-DAB86895EF72}"/>
              </a:ext>
            </a:extLst>
          </p:cNvPr>
          <p:cNvSpPr/>
          <p:nvPr/>
        </p:nvSpPr>
        <p:spPr>
          <a:xfrm rot="16200000">
            <a:off x="352841" y="4677895"/>
            <a:ext cx="1854218" cy="2569080"/>
          </a:xfrm>
          <a:custGeom>
            <a:avLst/>
            <a:gdLst>
              <a:gd name="connsiteX0" fmla="*/ 0 w 1854218"/>
              <a:gd name="connsiteY0" fmla="*/ 0 h 2569080"/>
              <a:gd name="connsiteX1" fmla="*/ 1763137 w 1854218"/>
              <a:gd name="connsiteY1" fmla="*/ 0 h 2569080"/>
              <a:gd name="connsiteX2" fmla="*/ 1777132 w 1854218"/>
              <a:gd name="connsiteY2" fmla="*/ 34695 h 2569080"/>
              <a:gd name="connsiteX3" fmla="*/ 1534375 w 1854218"/>
              <a:gd name="connsiteY3" fmla="*/ 1595779 h 2569080"/>
              <a:gd name="connsiteX4" fmla="*/ 11518 w 1854218"/>
              <a:gd name="connsiteY4" fmla="*/ 2567520 h 2569080"/>
              <a:gd name="connsiteX5" fmla="*/ 0 w 1854218"/>
              <a:gd name="connsiteY5" fmla="*/ 2569080 h 256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54218" h="2569080">
                <a:moveTo>
                  <a:pt x="0" y="0"/>
                </a:moveTo>
                <a:lnTo>
                  <a:pt x="1763137" y="0"/>
                </a:lnTo>
                <a:lnTo>
                  <a:pt x="1777132" y="34695"/>
                </a:lnTo>
                <a:cubicBezTo>
                  <a:pt x="1940769" y="549398"/>
                  <a:pt x="1836496" y="1144056"/>
                  <a:pt x="1534375" y="1595779"/>
                </a:cubicBezTo>
                <a:cubicBezTo>
                  <a:pt x="1189094" y="2112035"/>
                  <a:pt x="615117" y="2446171"/>
                  <a:pt x="11518" y="2567520"/>
                </a:cubicBezTo>
                <a:lnTo>
                  <a:pt x="0" y="2569080"/>
                </a:lnTo>
                <a:close/>
              </a:path>
            </a:pathLst>
          </a:custGeom>
          <a:solidFill>
            <a:srgbClr val="002E3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519" y="160094"/>
            <a:ext cx="4669065" cy="970189"/>
          </a:xfrm>
        </p:spPr>
        <p:txBody>
          <a:bodyPr>
            <a:normAutofit/>
          </a:bodyPr>
          <a:lstStyle/>
          <a:p>
            <a:pPr algn="ctr"/>
            <a:r>
              <a:rPr lang="en-US" sz="35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ESSONS LEARNT</a:t>
            </a:r>
            <a:endParaRPr lang="en-ID" sz="3500" dirty="0">
              <a:solidFill>
                <a:srgbClr val="002E3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1</a:t>
            </a:fld>
            <a:endParaRPr lang="en-ID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EEF62F9-A938-40BB-9CF5-B8D0940B0249}"/>
              </a:ext>
            </a:extLst>
          </p:cNvPr>
          <p:cNvSpPr/>
          <p:nvPr/>
        </p:nvSpPr>
        <p:spPr>
          <a:xfrm>
            <a:off x="527956" y="1397843"/>
            <a:ext cx="8108043" cy="1305348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68BA9472-27D7-4B01-A419-22C6DB2A3E2D}"/>
              </a:ext>
            </a:extLst>
          </p:cNvPr>
          <p:cNvGrpSpPr/>
          <p:nvPr/>
        </p:nvGrpSpPr>
        <p:grpSpPr>
          <a:xfrm>
            <a:off x="842390" y="1673638"/>
            <a:ext cx="414176" cy="412095"/>
            <a:chOff x="5594351" y="2909888"/>
            <a:chExt cx="315912" cy="314325"/>
          </a:xfrm>
        </p:grpSpPr>
        <p:sp>
          <p:nvSpPr>
            <p:cNvPr id="320" name="Freeform 10">
              <a:extLst>
                <a:ext uri="{FF2B5EF4-FFF2-40B4-BE49-F238E27FC236}">
                  <a16:creationId xmlns:a16="http://schemas.microsoft.com/office/drawing/2014/main" id="{B560DA01-2126-4EED-A2C9-6B0339A26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1" name="Freeform 11">
              <a:extLst>
                <a:ext uri="{FF2B5EF4-FFF2-40B4-BE49-F238E27FC236}">
                  <a16:creationId xmlns:a16="http://schemas.microsoft.com/office/drawing/2014/main" id="{A17E7A14-32FD-448E-ACD7-0EF0C756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733F9C-1259-4D3C-A162-8E22814915B1}"/>
              </a:ext>
            </a:extLst>
          </p:cNvPr>
          <p:cNvCxnSpPr>
            <a:cxnSpLocks/>
          </p:cNvCxnSpPr>
          <p:nvPr/>
        </p:nvCxnSpPr>
        <p:spPr>
          <a:xfrm>
            <a:off x="1492114" y="1570252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DABC21D-2A36-438D-8324-067E54C82E12}"/>
              </a:ext>
            </a:extLst>
          </p:cNvPr>
          <p:cNvSpPr txBox="1"/>
          <p:nvPr/>
        </p:nvSpPr>
        <p:spPr>
          <a:xfrm>
            <a:off x="1502497" y="1678447"/>
            <a:ext cx="694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rgbClr val="0D61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izing the problem statements, planning, and implementation .</a:t>
            </a:r>
            <a:endParaRPr lang="en-US" sz="2000" b="1" dirty="0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6FA96609-FD55-44E9-B8F1-466D45C5E4FA}"/>
              </a:ext>
            </a:extLst>
          </p:cNvPr>
          <p:cNvGrpSpPr/>
          <p:nvPr/>
        </p:nvGrpSpPr>
        <p:grpSpPr>
          <a:xfrm>
            <a:off x="842390" y="2990992"/>
            <a:ext cx="414176" cy="412095"/>
            <a:chOff x="5594351" y="2909888"/>
            <a:chExt cx="315912" cy="314325"/>
          </a:xfrm>
        </p:grpSpPr>
        <p:sp>
          <p:nvSpPr>
            <p:cNvPr id="339" name="Freeform 10">
              <a:extLst>
                <a:ext uri="{FF2B5EF4-FFF2-40B4-BE49-F238E27FC236}">
                  <a16:creationId xmlns:a16="http://schemas.microsoft.com/office/drawing/2014/main" id="{E7BFACD1-3C5A-4B71-8FAB-7B38D1E04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0" name="Freeform 11">
              <a:extLst>
                <a:ext uri="{FF2B5EF4-FFF2-40B4-BE49-F238E27FC236}">
                  <a16:creationId xmlns:a16="http://schemas.microsoft.com/office/drawing/2014/main" id="{354F2388-D3A9-4495-8D3C-4A091B538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1BBD63D6-FD96-4E74-9ACB-59C10FEB90BA}"/>
              </a:ext>
            </a:extLst>
          </p:cNvPr>
          <p:cNvCxnSpPr>
            <a:cxnSpLocks/>
          </p:cNvCxnSpPr>
          <p:nvPr/>
        </p:nvCxnSpPr>
        <p:spPr>
          <a:xfrm>
            <a:off x="1492114" y="2887606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Rectangle: Rounded Corners 345">
            <a:extLst>
              <a:ext uri="{FF2B5EF4-FFF2-40B4-BE49-F238E27FC236}">
                <a16:creationId xmlns:a16="http://schemas.microsoft.com/office/drawing/2014/main" id="{3E852751-62BC-4B50-A82E-B7F750F69661}"/>
              </a:ext>
            </a:extLst>
          </p:cNvPr>
          <p:cNvSpPr/>
          <p:nvPr/>
        </p:nvSpPr>
        <p:spPr>
          <a:xfrm>
            <a:off x="527956" y="3976018"/>
            <a:ext cx="10720615" cy="1305348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944328CB-A6BE-4EC7-A7AC-18A932151A94}"/>
              </a:ext>
            </a:extLst>
          </p:cNvPr>
          <p:cNvGrpSpPr/>
          <p:nvPr/>
        </p:nvGrpSpPr>
        <p:grpSpPr>
          <a:xfrm>
            <a:off x="842390" y="4422645"/>
            <a:ext cx="414176" cy="412095"/>
            <a:chOff x="5594351" y="2909888"/>
            <a:chExt cx="315912" cy="314325"/>
          </a:xfrm>
        </p:grpSpPr>
        <p:sp>
          <p:nvSpPr>
            <p:cNvPr id="354" name="Freeform 10">
              <a:extLst>
                <a:ext uri="{FF2B5EF4-FFF2-40B4-BE49-F238E27FC236}">
                  <a16:creationId xmlns:a16="http://schemas.microsoft.com/office/drawing/2014/main" id="{26042AD6-8A1F-4BE4-BBF0-B63E6E18C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5" name="Freeform 11">
              <a:extLst>
                <a:ext uri="{FF2B5EF4-FFF2-40B4-BE49-F238E27FC236}">
                  <a16:creationId xmlns:a16="http://schemas.microsoft.com/office/drawing/2014/main" id="{E994337C-4208-47C0-A986-C02C6B465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2153699D-4DCB-43B7-B252-9334FE6C7C1E}"/>
              </a:ext>
            </a:extLst>
          </p:cNvPr>
          <p:cNvCxnSpPr>
            <a:cxnSpLocks/>
          </p:cNvCxnSpPr>
          <p:nvPr/>
        </p:nvCxnSpPr>
        <p:spPr>
          <a:xfrm>
            <a:off x="1492114" y="4319259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Graphic 114">
            <a:extLst>
              <a:ext uri="{FF2B5EF4-FFF2-40B4-BE49-F238E27FC236}">
                <a16:creationId xmlns:a16="http://schemas.microsoft.com/office/drawing/2014/main" id="{312377A6-E807-480B-AB64-FA84AB7255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flipH="1">
            <a:off x="8251985" y="1173783"/>
            <a:ext cx="4397663" cy="4904308"/>
          </a:xfrm>
          <a:custGeom>
            <a:avLst/>
            <a:gdLst>
              <a:gd name="connsiteX0" fmla="*/ 4572836 w 4572836"/>
              <a:gd name="connsiteY0" fmla="*/ 0 h 4572836"/>
              <a:gd name="connsiteX1" fmla="*/ 0 w 4572836"/>
              <a:gd name="connsiteY1" fmla="*/ 0 h 4572836"/>
              <a:gd name="connsiteX2" fmla="*/ 0 w 4572836"/>
              <a:gd name="connsiteY2" fmla="*/ 41701 h 4572836"/>
              <a:gd name="connsiteX3" fmla="*/ 498128 w 4572836"/>
              <a:gd name="connsiteY3" fmla="*/ 41701 h 4572836"/>
              <a:gd name="connsiteX4" fmla="*/ 498128 w 4572836"/>
              <a:gd name="connsiteY4" fmla="*/ 4572836 h 4572836"/>
              <a:gd name="connsiteX5" fmla="*/ 4572836 w 4572836"/>
              <a:gd name="connsiteY5" fmla="*/ 4572836 h 457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2836" h="4572836">
                <a:moveTo>
                  <a:pt x="4572836" y="0"/>
                </a:moveTo>
                <a:lnTo>
                  <a:pt x="0" y="0"/>
                </a:lnTo>
                <a:lnTo>
                  <a:pt x="0" y="41701"/>
                </a:lnTo>
                <a:lnTo>
                  <a:pt x="498128" y="41701"/>
                </a:lnTo>
                <a:lnTo>
                  <a:pt x="498128" y="4572836"/>
                </a:lnTo>
                <a:lnTo>
                  <a:pt x="4572836" y="4572836"/>
                </a:lnTo>
                <a:close/>
              </a:path>
            </a:pathLst>
          </a:cu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5D9494C0-40A2-44E8-8952-134495049A8B}"/>
              </a:ext>
            </a:extLst>
          </p:cNvPr>
          <p:cNvSpPr txBox="1"/>
          <p:nvPr/>
        </p:nvSpPr>
        <p:spPr>
          <a:xfrm>
            <a:off x="1547541" y="2918051"/>
            <a:ext cx="70119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D61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igning front end part and interfacing it with the backend database.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0E0C6D3-5402-4D48-BB5D-AEC32323DFD1}"/>
              </a:ext>
            </a:extLst>
          </p:cNvPr>
          <p:cNvSpPr txBox="1"/>
          <p:nvPr/>
        </p:nvSpPr>
        <p:spPr>
          <a:xfrm>
            <a:off x="1567326" y="4373500"/>
            <a:ext cx="687909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0">
                <a:solidFill>
                  <a:srgbClr val="0D61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mmunicate as much as possible to reap the most out of the benefits of teamwork.</a:t>
            </a:r>
            <a:endParaRPr lang="en-US" sz="2000" b="1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F2DFD9C2-36AC-508C-978A-9EBFE0F155EB}"/>
              </a:ext>
            </a:extLst>
          </p:cNvPr>
          <p:cNvSpPr>
            <a:spLocks/>
          </p:cNvSpPr>
          <p:nvPr/>
        </p:nvSpPr>
        <p:spPr bwMode="auto">
          <a:xfrm>
            <a:off x="7039429" y="2571213"/>
            <a:ext cx="5152571" cy="4286788"/>
          </a:xfrm>
          <a:custGeom>
            <a:avLst/>
            <a:gdLst>
              <a:gd name="T0" fmla="*/ 1301 w 1301"/>
              <a:gd name="T1" fmla="*/ 0 h 1083"/>
              <a:gd name="T2" fmla="*/ 1301 w 1301"/>
              <a:gd name="T3" fmla="*/ 1083 h 1083"/>
              <a:gd name="T4" fmla="*/ 0 w 1301"/>
              <a:gd name="T5" fmla="*/ 1083 h 1083"/>
              <a:gd name="T6" fmla="*/ 344 w 1301"/>
              <a:gd name="T7" fmla="*/ 897 h 1083"/>
              <a:gd name="T8" fmla="*/ 1047 w 1301"/>
              <a:gd name="T9" fmla="*/ 467 h 1083"/>
              <a:gd name="T10" fmla="*/ 1301 w 1301"/>
              <a:gd name="T11" fmla="*/ 0 h 1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1" h="1083">
                <a:moveTo>
                  <a:pt x="1301" y="0"/>
                </a:moveTo>
                <a:cubicBezTo>
                  <a:pt x="1301" y="1083"/>
                  <a:pt x="1301" y="1083"/>
                  <a:pt x="1301" y="1083"/>
                </a:cubicBezTo>
                <a:cubicBezTo>
                  <a:pt x="0" y="1083"/>
                  <a:pt x="0" y="1083"/>
                  <a:pt x="0" y="1083"/>
                </a:cubicBezTo>
                <a:cubicBezTo>
                  <a:pt x="0" y="1083"/>
                  <a:pt x="94" y="911"/>
                  <a:pt x="344" y="897"/>
                </a:cubicBezTo>
                <a:cubicBezTo>
                  <a:pt x="594" y="882"/>
                  <a:pt x="900" y="894"/>
                  <a:pt x="1047" y="467"/>
                </a:cubicBezTo>
                <a:cubicBezTo>
                  <a:pt x="1194" y="41"/>
                  <a:pt x="1177" y="113"/>
                  <a:pt x="1301" y="0"/>
                </a:cubicBezTo>
                <a:close/>
              </a:path>
            </a:pathLst>
          </a:custGeom>
          <a:solidFill>
            <a:srgbClr val="002E35"/>
          </a:solidFill>
          <a:ln w="11113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quipExtended-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3122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61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22908-DC00-46A8-A7B5-C9C58D31F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2</a:t>
            </a:fld>
            <a:endParaRPr lang="en-ID"/>
          </a:p>
        </p:txBody>
      </p:sp>
      <p:sp>
        <p:nvSpPr>
          <p:cNvPr id="177" name="Title 1">
            <a:extLst>
              <a:ext uri="{FF2B5EF4-FFF2-40B4-BE49-F238E27FC236}">
                <a16:creationId xmlns:a16="http://schemas.microsoft.com/office/drawing/2014/main" id="{49030854-1233-4FEF-AA7E-D82C7F8D0ED2}"/>
              </a:ext>
            </a:extLst>
          </p:cNvPr>
          <p:cNvSpPr txBox="1">
            <a:spLocks/>
          </p:cNvSpPr>
          <p:nvPr/>
        </p:nvSpPr>
        <p:spPr>
          <a:xfrm>
            <a:off x="3378301" y="1743375"/>
            <a:ext cx="5792910" cy="16856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8000" dirty="0">
                <a:solidFill>
                  <a:schemeClr val="bg1"/>
                </a:solidFill>
                <a:latin typeface="Chiller" panose="04020404031007020602" pitchFamily="82" charset="0"/>
                <a:cs typeface="Times New Roman" panose="02020603050405020304" pitchFamily="18" charset="0"/>
              </a:rPr>
              <a:t>THANK  YOU</a:t>
            </a:r>
          </a:p>
        </p:txBody>
      </p:sp>
      <p:sp>
        <p:nvSpPr>
          <p:cNvPr id="178" name="Rectangle: Top Corners Rounded 177">
            <a:extLst>
              <a:ext uri="{FF2B5EF4-FFF2-40B4-BE49-F238E27FC236}">
                <a16:creationId xmlns:a16="http://schemas.microsoft.com/office/drawing/2014/main" id="{C57338C2-A6F8-47DC-864B-630AF2C2B76C}"/>
              </a:ext>
            </a:extLst>
          </p:cNvPr>
          <p:cNvSpPr/>
          <p:nvPr/>
        </p:nvSpPr>
        <p:spPr>
          <a:xfrm>
            <a:off x="1472183" y="5403639"/>
            <a:ext cx="3198023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6" name="Rectangle: Top Corners Rounded 175">
            <a:extLst>
              <a:ext uri="{FF2B5EF4-FFF2-40B4-BE49-F238E27FC236}">
                <a16:creationId xmlns:a16="http://schemas.microsoft.com/office/drawing/2014/main" id="{7A57A12B-E0FD-4C84-A6BE-E1E095C46BBD}"/>
              </a:ext>
            </a:extLst>
          </p:cNvPr>
          <p:cNvSpPr/>
          <p:nvPr/>
        </p:nvSpPr>
        <p:spPr>
          <a:xfrm>
            <a:off x="371554" y="5412376"/>
            <a:ext cx="1495345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3" name="Freeform 46">
            <a:extLst>
              <a:ext uri="{FF2B5EF4-FFF2-40B4-BE49-F238E27FC236}">
                <a16:creationId xmlns:a16="http://schemas.microsoft.com/office/drawing/2014/main" id="{04157217-E779-43CB-FE3E-8E7A2A9919EA}"/>
              </a:ext>
            </a:extLst>
          </p:cNvPr>
          <p:cNvSpPr>
            <a:spLocks/>
          </p:cNvSpPr>
          <p:nvPr/>
        </p:nvSpPr>
        <p:spPr bwMode="auto">
          <a:xfrm>
            <a:off x="0" y="3419175"/>
            <a:ext cx="924209" cy="1500791"/>
          </a:xfrm>
          <a:custGeom>
            <a:avLst/>
            <a:gdLst>
              <a:gd name="T0" fmla="*/ 274 w 320"/>
              <a:gd name="T1" fmla="*/ 0 h 501"/>
              <a:gd name="T2" fmla="*/ 221 w 320"/>
              <a:gd name="T3" fmla="*/ 26 h 501"/>
              <a:gd name="T4" fmla="*/ 186 w 320"/>
              <a:gd name="T5" fmla="*/ 76 h 501"/>
              <a:gd name="T6" fmla="*/ 178 w 320"/>
              <a:gd name="T7" fmla="*/ 89 h 501"/>
              <a:gd name="T8" fmla="*/ 177 w 320"/>
              <a:gd name="T9" fmla="*/ 91 h 501"/>
              <a:gd name="T10" fmla="*/ 149 w 320"/>
              <a:gd name="T11" fmla="*/ 125 h 501"/>
              <a:gd name="T12" fmla="*/ 136 w 320"/>
              <a:gd name="T13" fmla="*/ 131 h 501"/>
              <a:gd name="T14" fmla="*/ 133 w 320"/>
              <a:gd name="T15" fmla="*/ 130 h 501"/>
              <a:gd name="T16" fmla="*/ 125 w 320"/>
              <a:gd name="T17" fmla="*/ 115 h 501"/>
              <a:gd name="T18" fmla="*/ 125 w 320"/>
              <a:gd name="T19" fmla="*/ 115 h 501"/>
              <a:gd name="T20" fmla="*/ 126 w 320"/>
              <a:gd name="T21" fmla="*/ 101 h 501"/>
              <a:gd name="T22" fmla="*/ 126 w 320"/>
              <a:gd name="T23" fmla="*/ 98 h 501"/>
              <a:gd name="T24" fmla="*/ 100 w 320"/>
              <a:gd name="T25" fmla="*/ 77 h 501"/>
              <a:gd name="T26" fmla="*/ 94 w 320"/>
              <a:gd name="T27" fmla="*/ 78 h 501"/>
              <a:gd name="T28" fmla="*/ 67 w 320"/>
              <a:gd name="T29" fmla="*/ 101 h 501"/>
              <a:gd name="T30" fmla="*/ 65 w 320"/>
              <a:gd name="T31" fmla="*/ 105 h 501"/>
              <a:gd name="T32" fmla="*/ 62 w 320"/>
              <a:gd name="T33" fmla="*/ 114 h 501"/>
              <a:gd name="T34" fmla="*/ 58 w 320"/>
              <a:gd name="T35" fmla="*/ 147 h 501"/>
              <a:gd name="T36" fmla="*/ 53 w 320"/>
              <a:gd name="T37" fmla="*/ 226 h 501"/>
              <a:gd name="T38" fmla="*/ 37 w 320"/>
              <a:gd name="T39" fmla="*/ 263 h 501"/>
              <a:gd name="T40" fmla="*/ 28 w 320"/>
              <a:gd name="T41" fmla="*/ 265 h 501"/>
              <a:gd name="T42" fmla="*/ 25 w 320"/>
              <a:gd name="T43" fmla="*/ 265 h 501"/>
              <a:gd name="T44" fmla="*/ 19 w 320"/>
              <a:gd name="T45" fmla="*/ 264 h 501"/>
              <a:gd name="T46" fmla="*/ 8 w 320"/>
              <a:gd name="T47" fmla="*/ 258 h 501"/>
              <a:gd name="T48" fmla="*/ 7 w 320"/>
              <a:gd name="T49" fmla="*/ 258 h 501"/>
              <a:gd name="T50" fmla="*/ 5 w 320"/>
              <a:gd name="T51" fmla="*/ 257 h 501"/>
              <a:gd name="T52" fmla="*/ 0 w 320"/>
              <a:gd name="T53" fmla="*/ 253 h 501"/>
              <a:gd name="T54" fmla="*/ 0 w 320"/>
              <a:gd name="T55" fmla="*/ 492 h 501"/>
              <a:gd name="T56" fmla="*/ 53 w 320"/>
              <a:gd name="T57" fmla="*/ 501 h 501"/>
              <a:gd name="T58" fmla="*/ 115 w 320"/>
              <a:gd name="T59" fmla="*/ 491 h 501"/>
              <a:gd name="T60" fmla="*/ 237 w 320"/>
              <a:gd name="T61" fmla="*/ 418 h 501"/>
              <a:gd name="T62" fmla="*/ 260 w 320"/>
              <a:gd name="T63" fmla="*/ 384 h 501"/>
              <a:gd name="T64" fmla="*/ 264 w 320"/>
              <a:gd name="T65" fmla="*/ 365 h 501"/>
              <a:gd name="T66" fmla="*/ 258 w 320"/>
              <a:gd name="T67" fmla="*/ 345 h 501"/>
              <a:gd name="T68" fmla="*/ 221 w 320"/>
              <a:gd name="T69" fmla="*/ 327 h 501"/>
              <a:gd name="T70" fmla="*/ 202 w 320"/>
              <a:gd name="T71" fmla="*/ 330 h 501"/>
              <a:gd name="T72" fmla="*/ 170 w 320"/>
              <a:gd name="T73" fmla="*/ 340 h 501"/>
              <a:gd name="T74" fmla="*/ 166 w 320"/>
              <a:gd name="T75" fmla="*/ 340 h 501"/>
              <a:gd name="T76" fmla="*/ 142 w 320"/>
              <a:gd name="T77" fmla="*/ 326 h 501"/>
              <a:gd name="T78" fmla="*/ 141 w 320"/>
              <a:gd name="T79" fmla="*/ 319 h 501"/>
              <a:gd name="T80" fmla="*/ 153 w 320"/>
              <a:gd name="T81" fmla="*/ 297 h 501"/>
              <a:gd name="T82" fmla="*/ 183 w 320"/>
              <a:gd name="T83" fmla="*/ 285 h 501"/>
              <a:gd name="T84" fmla="*/ 266 w 320"/>
              <a:gd name="T85" fmla="*/ 244 h 501"/>
              <a:gd name="T86" fmla="*/ 288 w 320"/>
              <a:gd name="T87" fmla="*/ 212 h 501"/>
              <a:gd name="T88" fmla="*/ 287 w 320"/>
              <a:gd name="T89" fmla="*/ 206 h 501"/>
              <a:gd name="T90" fmla="*/ 261 w 320"/>
              <a:gd name="T91" fmla="*/ 187 h 501"/>
              <a:gd name="T92" fmla="*/ 229 w 320"/>
              <a:gd name="T93" fmla="*/ 181 h 501"/>
              <a:gd name="T94" fmla="*/ 214 w 320"/>
              <a:gd name="T95" fmla="*/ 163 h 501"/>
              <a:gd name="T96" fmla="*/ 215 w 320"/>
              <a:gd name="T97" fmla="*/ 159 h 501"/>
              <a:gd name="T98" fmla="*/ 227 w 320"/>
              <a:gd name="T99" fmla="*/ 148 h 501"/>
              <a:gd name="T100" fmla="*/ 297 w 320"/>
              <a:gd name="T101" fmla="*/ 89 h 501"/>
              <a:gd name="T102" fmla="*/ 320 w 320"/>
              <a:gd name="T103" fmla="*/ 42 h 501"/>
              <a:gd name="T104" fmla="*/ 320 w 320"/>
              <a:gd name="T105" fmla="*/ 35 h 501"/>
              <a:gd name="T106" fmla="*/ 275 w 320"/>
              <a:gd name="T107" fmla="*/ 0 h 501"/>
              <a:gd name="T108" fmla="*/ 274 w 320"/>
              <a:gd name="T109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20" h="501">
                <a:moveTo>
                  <a:pt x="274" y="0"/>
                </a:moveTo>
                <a:cubicBezTo>
                  <a:pt x="254" y="0"/>
                  <a:pt x="235" y="11"/>
                  <a:pt x="221" y="26"/>
                </a:cubicBezTo>
                <a:cubicBezTo>
                  <a:pt x="207" y="40"/>
                  <a:pt x="197" y="58"/>
                  <a:pt x="186" y="76"/>
                </a:cubicBezTo>
                <a:cubicBezTo>
                  <a:pt x="183" y="80"/>
                  <a:pt x="181" y="85"/>
                  <a:pt x="178" y="89"/>
                </a:cubicBezTo>
                <a:cubicBezTo>
                  <a:pt x="178" y="90"/>
                  <a:pt x="177" y="90"/>
                  <a:pt x="177" y="91"/>
                </a:cubicBezTo>
                <a:cubicBezTo>
                  <a:pt x="169" y="103"/>
                  <a:pt x="160" y="115"/>
                  <a:pt x="149" y="125"/>
                </a:cubicBezTo>
                <a:cubicBezTo>
                  <a:pt x="145" y="128"/>
                  <a:pt x="141" y="131"/>
                  <a:pt x="136" y="131"/>
                </a:cubicBezTo>
                <a:cubicBezTo>
                  <a:pt x="135" y="131"/>
                  <a:pt x="134" y="130"/>
                  <a:pt x="133" y="130"/>
                </a:cubicBezTo>
                <a:cubicBezTo>
                  <a:pt x="128" y="128"/>
                  <a:pt x="125" y="121"/>
                  <a:pt x="125" y="115"/>
                </a:cubicBezTo>
                <a:cubicBezTo>
                  <a:pt x="125" y="115"/>
                  <a:pt x="125" y="115"/>
                  <a:pt x="125" y="115"/>
                </a:cubicBezTo>
                <a:cubicBezTo>
                  <a:pt x="125" y="111"/>
                  <a:pt x="126" y="106"/>
                  <a:pt x="126" y="101"/>
                </a:cubicBezTo>
                <a:cubicBezTo>
                  <a:pt x="126" y="100"/>
                  <a:pt x="126" y="99"/>
                  <a:pt x="126" y="98"/>
                </a:cubicBezTo>
                <a:cubicBezTo>
                  <a:pt x="124" y="86"/>
                  <a:pt x="112" y="77"/>
                  <a:pt x="100" y="77"/>
                </a:cubicBezTo>
                <a:cubicBezTo>
                  <a:pt x="98" y="77"/>
                  <a:pt x="96" y="77"/>
                  <a:pt x="94" y="78"/>
                </a:cubicBezTo>
                <a:cubicBezTo>
                  <a:pt x="82" y="80"/>
                  <a:pt x="73" y="89"/>
                  <a:pt x="67" y="101"/>
                </a:cubicBezTo>
                <a:cubicBezTo>
                  <a:pt x="66" y="102"/>
                  <a:pt x="66" y="104"/>
                  <a:pt x="65" y="105"/>
                </a:cubicBezTo>
                <a:cubicBezTo>
                  <a:pt x="64" y="108"/>
                  <a:pt x="63" y="111"/>
                  <a:pt x="62" y="114"/>
                </a:cubicBezTo>
                <a:cubicBezTo>
                  <a:pt x="59" y="125"/>
                  <a:pt x="58" y="136"/>
                  <a:pt x="58" y="147"/>
                </a:cubicBezTo>
                <a:cubicBezTo>
                  <a:pt x="56" y="173"/>
                  <a:pt x="54" y="200"/>
                  <a:pt x="53" y="226"/>
                </a:cubicBezTo>
                <a:cubicBezTo>
                  <a:pt x="52" y="240"/>
                  <a:pt x="49" y="257"/>
                  <a:pt x="37" y="263"/>
                </a:cubicBezTo>
                <a:cubicBezTo>
                  <a:pt x="34" y="264"/>
                  <a:pt x="31" y="265"/>
                  <a:pt x="28" y="265"/>
                </a:cubicBezTo>
                <a:cubicBezTo>
                  <a:pt x="27" y="265"/>
                  <a:pt x="26" y="265"/>
                  <a:pt x="25" y="265"/>
                </a:cubicBezTo>
                <a:cubicBezTo>
                  <a:pt x="23" y="265"/>
                  <a:pt x="21" y="264"/>
                  <a:pt x="19" y="264"/>
                </a:cubicBezTo>
                <a:cubicBezTo>
                  <a:pt x="15" y="262"/>
                  <a:pt x="11" y="260"/>
                  <a:pt x="8" y="258"/>
                </a:cubicBezTo>
                <a:cubicBezTo>
                  <a:pt x="7" y="258"/>
                  <a:pt x="7" y="258"/>
                  <a:pt x="7" y="258"/>
                </a:cubicBezTo>
                <a:cubicBezTo>
                  <a:pt x="6" y="257"/>
                  <a:pt x="6" y="257"/>
                  <a:pt x="5" y="257"/>
                </a:cubicBezTo>
                <a:cubicBezTo>
                  <a:pt x="3" y="256"/>
                  <a:pt x="1" y="254"/>
                  <a:pt x="0" y="253"/>
                </a:cubicBezTo>
                <a:cubicBezTo>
                  <a:pt x="0" y="492"/>
                  <a:pt x="0" y="492"/>
                  <a:pt x="0" y="492"/>
                </a:cubicBezTo>
                <a:cubicBezTo>
                  <a:pt x="17" y="498"/>
                  <a:pt x="35" y="501"/>
                  <a:pt x="53" y="501"/>
                </a:cubicBezTo>
                <a:cubicBezTo>
                  <a:pt x="73" y="501"/>
                  <a:pt x="94" y="497"/>
                  <a:pt x="115" y="491"/>
                </a:cubicBezTo>
                <a:cubicBezTo>
                  <a:pt x="161" y="479"/>
                  <a:pt x="203" y="452"/>
                  <a:pt x="237" y="418"/>
                </a:cubicBezTo>
                <a:cubicBezTo>
                  <a:pt x="246" y="408"/>
                  <a:pt x="255" y="397"/>
                  <a:pt x="260" y="384"/>
                </a:cubicBezTo>
                <a:cubicBezTo>
                  <a:pt x="263" y="378"/>
                  <a:pt x="264" y="372"/>
                  <a:pt x="264" y="365"/>
                </a:cubicBezTo>
                <a:cubicBezTo>
                  <a:pt x="264" y="358"/>
                  <a:pt x="262" y="351"/>
                  <a:pt x="258" y="345"/>
                </a:cubicBezTo>
                <a:cubicBezTo>
                  <a:pt x="250" y="332"/>
                  <a:pt x="236" y="327"/>
                  <a:pt x="221" y="327"/>
                </a:cubicBezTo>
                <a:cubicBezTo>
                  <a:pt x="215" y="327"/>
                  <a:pt x="208" y="328"/>
                  <a:pt x="202" y="330"/>
                </a:cubicBezTo>
                <a:cubicBezTo>
                  <a:pt x="192" y="333"/>
                  <a:pt x="181" y="338"/>
                  <a:pt x="170" y="340"/>
                </a:cubicBezTo>
                <a:cubicBezTo>
                  <a:pt x="169" y="340"/>
                  <a:pt x="168" y="340"/>
                  <a:pt x="166" y="340"/>
                </a:cubicBezTo>
                <a:cubicBezTo>
                  <a:pt x="156" y="340"/>
                  <a:pt x="146" y="336"/>
                  <a:pt x="142" y="326"/>
                </a:cubicBezTo>
                <a:cubicBezTo>
                  <a:pt x="141" y="324"/>
                  <a:pt x="141" y="322"/>
                  <a:pt x="141" y="319"/>
                </a:cubicBezTo>
                <a:cubicBezTo>
                  <a:pt x="141" y="311"/>
                  <a:pt x="146" y="302"/>
                  <a:pt x="153" y="297"/>
                </a:cubicBezTo>
                <a:cubicBezTo>
                  <a:pt x="161" y="290"/>
                  <a:pt x="173" y="288"/>
                  <a:pt x="183" y="285"/>
                </a:cubicBezTo>
                <a:cubicBezTo>
                  <a:pt x="213" y="276"/>
                  <a:pt x="241" y="262"/>
                  <a:pt x="266" y="244"/>
                </a:cubicBezTo>
                <a:cubicBezTo>
                  <a:pt x="277" y="236"/>
                  <a:pt x="288" y="225"/>
                  <a:pt x="288" y="212"/>
                </a:cubicBezTo>
                <a:cubicBezTo>
                  <a:pt x="288" y="210"/>
                  <a:pt x="288" y="208"/>
                  <a:pt x="287" y="206"/>
                </a:cubicBezTo>
                <a:cubicBezTo>
                  <a:pt x="284" y="195"/>
                  <a:pt x="272" y="189"/>
                  <a:pt x="261" y="187"/>
                </a:cubicBezTo>
                <a:cubicBezTo>
                  <a:pt x="250" y="185"/>
                  <a:pt x="239" y="186"/>
                  <a:pt x="229" y="181"/>
                </a:cubicBezTo>
                <a:cubicBezTo>
                  <a:pt x="221" y="178"/>
                  <a:pt x="214" y="171"/>
                  <a:pt x="214" y="163"/>
                </a:cubicBezTo>
                <a:cubicBezTo>
                  <a:pt x="214" y="162"/>
                  <a:pt x="214" y="160"/>
                  <a:pt x="215" y="159"/>
                </a:cubicBezTo>
                <a:cubicBezTo>
                  <a:pt x="217" y="153"/>
                  <a:pt x="222" y="150"/>
                  <a:pt x="227" y="148"/>
                </a:cubicBezTo>
                <a:cubicBezTo>
                  <a:pt x="253" y="132"/>
                  <a:pt x="276" y="112"/>
                  <a:pt x="297" y="89"/>
                </a:cubicBezTo>
                <a:cubicBezTo>
                  <a:pt x="309" y="76"/>
                  <a:pt x="320" y="59"/>
                  <a:pt x="320" y="42"/>
                </a:cubicBezTo>
                <a:cubicBezTo>
                  <a:pt x="320" y="39"/>
                  <a:pt x="320" y="37"/>
                  <a:pt x="320" y="35"/>
                </a:cubicBezTo>
                <a:cubicBezTo>
                  <a:pt x="316" y="14"/>
                  <a:pt x="295" y="0"/>
                  <a:pt x="275" y="0"/>
                </a:cubicBezTo>
                <a:cubicBezTo>
                  <a:pt x="275" y="0"/>
                  <a:pt x="274" y="0"/>
                  <a:pt x="274" y="0"/>
                </a:cubicBezTo>
              </a:path>
            </a:pathLst>
          </a:custGeom>
          <a:solidFill>
            <a:srgbClr val="002E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4" name="Freeform 47">
            <a:extLst>
              <a:ext uri="{FF2B5EF4-FFF2-40B4-BE49-F238E27FC236}">
                <a16:creationId xmlns:a16="http://schemas.microsoft.com/office/drawing/2014/main" id="{C78AAA48-71E3-EE14-7BF0-DAEBAF7B67F8}"/>
              </a:ext>
            </a:extLst>
          </p:cNvPr>
          <p:cNvSpPr>
            <a:spLocks/>
          </p:cNvSpPr>
          <p:nvPr/>
        </p:nvSpPr>
        <p:spPr bwMode="auto">
          <a:xfrm>
            <a:off x="-75447" y="3430895"/>
            <a:ext cx="952468" cy="1603032"/>
          </a:xfrm>
          <a:custGeom>
            <a:avLst/>
            <a:gdLst>
              <a:gd name="T0" fmla="*/ 0 w 323"/>
              <a:gd name="T1" fmla="*/ 535 h 535"/>
              <a:gd name="T2" fmla="*/ 31 w 323"/>
              <a:gd name="T3" fmla="*/ 420 h 535"/>
              <a:gd name="T4" fmla="*/ 91 w 323"/>
              <a:gd name="T5" fmla="*/ 287 h 535"/>
              <a:gd name="T6" fmla="*/ 108 w 323"/>
              <a:gd name="T7" fmla="*/ 253 h 535"/>
              <a:gd name="T8" fmla="*/ 126 w 323"/>
              <a:gd name="T9" fmla="*/ 221 h 535"/>
              <a:gd name="T10" fmla="*/ 165 w 323"/>
              <a:gd name="T11" fmla="*/ 162 h 535"/>
              <a:gd name="T12" fmla="*/ 204 w 323"/>
              <a:gd name="T13" fmla="*/ 113 h 535"/>
              <a:gd name="T14" fmla="*/ 240 w 323"/>
              <a:gd name="T15" fmla="*/ 71 h 535"/>
              <a:gd name="T16" fmla="*/ 299 w 323"/>
              <a:gd name="T17" fmla="*/ 17 h 535"/>
              <a:gd name="T18" fmla="*/ 316 w 323"/>
              <a:gd name="T19" fmla="*/ 4 h 535"/>
              <a:gd name="T20" fmla="*/ 321 w 323"/>
              <a:gd name="T21" fmla="*/ 1 h 535"/>
              <a:gd name="T22" fmla="*/ 323 w 323"/>
              <a:gd name="T23" fmla="*/ 0 h 535"/>
              <a:gd name="T24" fmla="*/ 321 w 323"/>
              <a:gd name="T25" fmla="*/ 1 h 535"/>
              <a:gd name="T26" fmla="*/ 317 w 323"/>
              <a:gd name="T27" fmla="*/ 4 h 535"/>
              <a:gd name="T28" fmla="*/ 300 w 323"/>
              <a:gd name="T29" fmla="*/ 18 h 535"/>
              <a:gd name="T30" fmla="*/ 242 w 323"/>
              <a:gd name="T31" fmla="*/ 72 h 535"/>
              <a:gd name="T32" fmla="*/ 206 w 323"/>
              <a:gd name="T33" fmla="*/ 114 h 535"/>
              <a:gd name="T34" fmla="*/ 167 w 323"/>
              <a:gd name="T35" fmla="*/ 164 h 535"/>
              <a:gd name="T36" fmla="*/ 128 w 323"/>
              <a:gd name="T37" fmla="*/ 222 h 535"/>
              <a:gd name="T38" fmla="*/ 110 w 323"/>
              <a:gd name="T39" fmla="*/ 254 h 535"/>
              <a:gd name="T40" fmla="*/ 93 w 323"/>
              <a:gd name="T41" fmla="*/ 288 h 535"/>
              <a:gd name="T42" fmla="*/ 33 w 323"/>
              <a:gd name="T43" fmla="*/ 421 h 535"/>
              <a:gd name="T44" fmla="*/ 2 w 323"/>
              <a:gd name="T45" fmla="*/ 535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23" h="535">
                <a:moveTo>
                  <a:pt x="0" y="535"/>
                </a:moveTo>
                <a:cubicBezTo>
                  <a:pt x="5" y="501"/>
                  <a:pt x="15" y="462"/>
                  <a:pt x="31" y="420"/>
                </a:cubicBezTo>
                <a:cubicBezTo>
                  <a:pt x="46" y="378"/>
                  <a:pt x="67" y="333"/>
                  <a:pt x="91" y="287"/>
                </a:cubicBezTo>
                <a:cubicBezTo>
                  <a:pt x="96" y="276"/>
                  <a:pt x="102" y="264"/>
                  <a:pt x="108" y="253"/>
                </a:cubicBezTo>
                <a:cubicBezTo>
                  <a:pt x="114" y="242"/>
                  <a:pt x="119" y="231"/>
                  <a:pt x="126" y="221"/>
                </a:cubicBezTo>
                <a:cubicBezTo>
                  <a:pt x="138" y="200"/>
                  <a:pt x="151" y="180"/>
                  <a:pt x="165" y="162"/>
                </a:cubicBezTo>
                <a:cubicBezTo>
                  <a:pt x="178" y="145"/>
                  <a:pt x="192" y="128"/>
                  <a:pt x="204" y="113"/>
                </a:cubicBezTo>
                <a:cubicBezTo>
                  <a:pt x="217" y="97"/>
                  <a:pt x="229" y="83"/>
                  <a:pt x="240" y="71"/>
                </a:cubicBezTo>
                <a:cubicBezTo>
                  <a:pt x="263" y="46"/>
                  <a:pt x="284" y="29"/>
                  <a:pt x="299" y="17"/>
                </a:cubicBezTo>
                <a:cubicBezTo>
                  <a:pt x="306" y="11"/>
                  <a:pt x="312" y="7"/>
                  <a:pt x="316" y="4"/>
                </a:cubicBezTo>
                <a:cubicBezTo>
                  <a:pt x="318" y="3"/>
                  <a:pt x="320" y="2"/>
                  <a:pt x="321" y="1"/>
                </a:cubicBezTo>
                <a:cubicBezTo>
                  <a:pt x="322" y="0"/>
                  <a:pt x="323" y="0"/>
                  <a:pt x="323" y="0"/>
                </a:cubicBezTo>
                <a:cubicBezTo>
                  <a:pt x="323" y="0"/>
                  <a:pt x="322" y="0"/>
                  <a:pt x="321" y="1"/>
                </a:cubicBezTo>
                <a:cubicBezTo>
                  <a:pt x="320" y="2"/>
                  <a:pt x="318" y="3"/>
                  <a:pt x="317" y="4"/>
                </a:cubicBezTo>
                <a:cubicBezTo>
                  <a:pt x="313" y="8"/>
                  <a:pt x="307" y="12"/>
                  <a:pt x="300" y="18"/>
                </a:cubicBezTo>
                <a:cubicBezTo>
                  <a:pt x="285" y="30"/>
                  <a:pt x="264" y="48"/>
                  <a:pt x="242" y="72"/>
                </a:cubicBezTo>
                <a:cubicBezTo>
                  <a:pt x="230" y="85"/>
                  <a:pt x="218" y="99"/>
                  <a:pt x="206" y="114"/>
                </a:cubicBezTo>
                <a:cubicBezTo>
                  <a:pt x="193" y="130"/>
                  <a:pt x="180" y="146"/>
                  <a:pt x="167" y="164"/>
                </a:cubicBezTo>
                <a:cubicBezTo>
                  <a:pt x="153" y="182"/>
                  <a:pt x="140" y="201"/>
                  <a:pt x="128" y="222"/>
                </a:cubicBezTo>
                <a:cubicBezTo>
                  <a:pt x="122" y="232"/>
                  <a:pt x="116" y="243"/>
                  <a:pt x="110" y="254"/>
                </a:cubicBezTo>
                <a:cubicBezTo>
                  <a:pt x="105" y="266"/>
                  <a:pt x="99" y="277"/>
                  <a:pt x="93" y="288"/>
                </a:cubicBezTo>
                <a:cubicBezTo>
                  <a:pt x="70" y="334"/>
                  <a:pt x="49" y="379"/>
                  <a:pt x="33" y="421"/>
                </a:cubicBezTo>
                <a:cubicBezTo>
                  <a:pt x="18" y="463"/>
                  <a:pt x="7" y="502"/>
                  <a:pt x="2" y="53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37DF697-2419-EF0E-0536-9EE67ED200A4}"/>
              </a:ext>
            </a:extLst>
          </p:cNvPr>
          <p:cNvSpPr/>
          <p:nvPr/>
        </p:nvSpPr>
        <p:spPr>
          <a:xfrm>
            <a:off x="5118413" y="5403639"/>
            <a:ext cx="3198023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690D0D65-74FD-4A08-158B-BD77DB913092}"/>
              </a:ext>
            </a:extLst>
          </p:cNvPr>
          <p:cNvSpPr/>
          <p:nvPr/>
        </p:nvSpPr>
        <p:spPr>
          <a:xfrm>
            <a:off x="4275490" y="5412376"/>
            <a:ext cx="1495345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40F59893-C347-1314-AFED-D4D2A9902BF5}"/>
              </a:ext>
            </a:extLst>
          </p:cNvPr>
          <p:cNvSpPr/>
          <p:nvPr/>
        </p:nvSpPr>
        <p:spPr>
          <a:xfrm>
            <a:off x="8905826" y="5403639"/>
            <a:ext cx="2758217" cy="365125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9" name="Rectangle: Top Corners Rounded 178">
            <a:extLst>
              <a:ext uri="{FF2B5EF4-FFF2-40B4-BE49-F238E27FC236}">
                <a16:creationId xmlns:a16="http://schemas.microsoft.com/office/drawing/2014/main" id="{255224B8-03BB-0AA8-E49D-960A2DAAEE12}"/>
              </a:ext>
            </a:extLst>
          </p:cNvPr>
          <p:cNvSpPr/>
          <p:nvPr/>
        </p:nvSpPr>
        <p:spPr>
          <a:xfrm>
            <a:off x="8158153" y="5412376"/>
            <a:ext cx="1495345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1" name="Freeform 46">
            <a:extLst>
              <a:ext uri="{FF2B5EF4-FFF2-40B4-BE49-F238E27FC236}">
                <a16:creationId xmlns:a16="http://schemas.microsoft.com/office/drawing/2014/main" id="{7F49A74F-CB4F-F009-3876-6AEE097C25D9}"/>
              </a:ext>
            </a:extLst>
          </p:cNvPr>
          <p:cNvSpPr>
            <a:spLocks/>
          </p:cNvSpPr>
          <p:nvPr/>
        </p:nvSpPr>
        <p:spPr bwMode="auto">
          <a:xfrm rot="17573537">
            <a:off x="11109288" y="4169570"/>
            <a:ext cx="924209" cy="1500791"/>
          </a:xfrm>
          <a:custGeom>
            <a:avLst/>
            <a:gdLst>
              <a:gd name="T0" fmla="*/ 274 w 320"/>
              <a:gd name="T1" fmla="*/ 0 h 501"/>
              <a:gd name="T2" fmla="*/ 221 w 320"/>
              <a:gd name="T3" fmla="*/ 26 h 501"/>
              <a:gd name="T4" fmla="*/ 186 w 320"/>
              <a:gd name="T5" fmla="*/ 76 h 501"/>
              <a:gd name="T6" fmla="*/ 178 w 320"/>
              <a:gd name="T7" fmla="*/ 89 h 501"/>
              <a:gd name="T8" fmla="*/ 177 w 320"/>
              <a:gd name="T9" fmla="*/ 91 h 501"/>
              <a:gd name="T10" fmla="*/ 149 w 320"/>
              <a:gd name="T11" fmla="*/ 125 h 501"/>
              <a:gd name="T12" fmla="*/ 136 w 320"/>
              <a:gd name="T13" fmla="*/ 131 h 501"/>
              <a:gd name="T14" fmla="*/ 133 w 320"/>
              <a:gd name="T15" fmla="*/ 130 h 501"/>
              <a:gd name="T16" fmla="*/ 125 w 320"/>
              <a:gd name="T17" fmla="*/ 115 h 501"/>
              <a:gd name="T18" fmla="*/ 125 w 320"/>
              <a:gd name="T19" fmla="*/ 115 h 501"/>
              <a:gd name="T20" fmla="*/ 126 w 320"/>
              <a:gd name="T21" fmla="*/ 101 h 501"/>
              <a:gd name="T22" fmla="*/ 126 w 320"/>
              <a:gd name="T23" fmla="*/ 98 h 501"/>
              <a:gd name="T24" fmla="*/ 100 w 320"/>
              <a:gd name="T25" fmla="*/ 77 h 501"/>
              <a:gd name="T26" fmla="*/ 94 w 320"/>
              <a:gd name="T27" fmla="*/ 78 h 501"/>
              <a:gd name="T28" fmla="*/ 67 w 320"/>
              <a:gd name="T29" fmla="*/ 101 h 501"/>
              <a:gd name="T30" fmla="*/ 65 w 320"/>
              <a:gd name="T31" fmla="*/ 105 h 501"/>
              <a:gd name="T32" fmla="*/ 62 w 320"/>
              <a:gd name="T33" fmla="*/ 114 h 501"/>
              <a:gd name="T34" fmla="*/ 58 w 320"/>
              <a:gd name="T35" fmla="*/ 147 h 501"/>
              <a:gd name="T36" fmla="*/ 53 w 320"/>
              <a:gd name="T37" fmla="*/ 226 h 501"/>
              <a:gd name="T38" fmla="*/ 37 w 320"/>
              <a:gd name="T39" fmla="*/ 263 h 501"/>
              <a:gd name="T40" fmla="*/ 28 w 320"/>
              <a:gd name="T41" fmla="*/ 265 h 501"/>
              <a:gd name="T42" fmla="*/ 25 w 320"/>
              <a:gd name="T43" fmla="*/ 265 h 501"/>
              <a:gd name="T44" fmla="*/ 19 w 320"/>
              <a:gd name="T45" fmla="*/ 264 h 501"/>
              <a:gd name="T46" fmla="*/ 8 w 320"/>
              <a:gd name="T47" fmla="*/ 258 h 501"/>
              <a:gd name="T48" fmla="*/ 7 w 320"/>
              <a:gd name="T49" fmla="*/ 258 h 501"/>
              <a:gd name="T50" fmla="*/ 5 w 320"/>
              <a:gd name="T51" fmla="*/ 257 h 501"/>
              <a:gd name="T52" fmla="*/ 0 w 320"/>
              <a:gd name="T53" fmla="*/ 253 h 501"/>
              <a:gd name="T54" fmla="*/ 0 w 320"/>
              <a:gd name="T55" fmla="*/ 492 h 501"/>
              <a:gd name="T56" fmla="*/ 53 w 320"/>
              <a:gd name="T57" fmla="*/ 501 h 501"/>
              <a:gd name="T58" fmla="*/ 115 w 320"/>
              <a:gd name="T59" fmla="*/ 491 h 501"/>
              <a:gd name="T60" fmla="*/ 237 w 320"/>
              <a:gd name="T61" fmla="*/ 418 h 501"/>
              <a:gd name="T62" fmla="*/ 260 w 320"/>
              <a:gd name="T63" fmla="*/ 384 h 501"/>
              <a:gd name="T64" fmla="*/ 264 w 320"/>
              <a:gd name="T65" fmla="*/ 365 h 501"/>
              <a:gd name="T66" fmla="*/ 258 w 320"/>
              <a:gd name="T67" fmla="*/ 345 h 501"/>
              <a:gd name="T68" fmla="*/ 221 w 320"/>
              <a:gd name="T69" fmla="*/ 327 h 501"/>
              <a:gd name="T70" fmla="*/ 202 w 320"/>
              <a:gd name="T71" fmla="*/ 330 h 501"/>
              <a:gd name="T72" fmla="*/ 170 w 320"/>
              <a:gd name="T73" fmla="*/ 340 h 501"/>
              <a:gd name="T74" fmla="*/ 166 w 320"/>
              <a:gd name="T75" fmla="*/ 340 h 501"/>
              <a:gd name="T76" fmla="*/ 142 w 320"/>
              <a:gd name="T77" fmla="*/ 326 h 501"/>
              <a:gd name="T78" fmla="*/ 141 w 320"/>
              <a:gd name="T79" fmla="*/ 319 h 501"/>
              <a:gd name="T80" fmla="*/ 153 w 320"/>
              <a:gd name="T81" fmla="*/ 297 h 501"/>
              <a:gd name="T82" fmla="*/ 183 w 320"/>
              <a:gd name="T83" fmla="*/ 285 h 501"/>
              <a:gd name="T84" fmla="*/ 266 w 320"/>
              <a:gd name="T85" fmla="*/ 244 h 501"/>
              <a:gd name="T86" fmla="*/ 288 w 320"/>
              <a:gd name="T87" fmla="*/ 212 h 501"/>
              <a:gd name="T88" fmla="*/ 287 w 320"/>
              <a:gd name="T89" fmla="*/ 206 h 501"/>
              <a:gd name="T90" fmla="*/ 261 w 320"/>
              <a:gd name="T91" fmla="*/ 187 h 501"/>
              <a:gd name="T92" fmla="*/ 229 w 320"/>
              <a:gd name="T93" fmla="*/ 181 h 501"/>
              <a:gd name="T94" fmla="*/ 214 w 320"/>
              <a:gd name="T95" fmla="*/ 163 h 501"/>
              <a:gd name="T96" fmla="*/ 215 w 320"/>
              <a:gd name="T97" fmla="*/ 159 h 501"/>
              <a:gd name="T98" fmla="*/ 227 w 320"/>
              <a:gd name="T99" fmla="*/ 148 h 501"/>
              <a:gd name="T100" fmla="*/ 297 w 320"/>
              <a:gd name="T101" fmla="*/ 89 h 501"/>
              <a:gd name="T102" fmla="*/ 320 w 320"/>
              <a:gd name="T103" fmla="*/ 42 h 501"/>
              <a:gd name="T104" fmla="*/ 320 w 320"/>
              <a:gd name="T105" fmla="*/ 35 h 501"/>
              <a:gd name="T106" fmla="*/ 275 w 320"/>
              <a:gd name="T107" fmla="*/ 0 h 501"/>
              <a:gd name="T108" fmla="*/ 274 w 320"/>
              <a:gd name="T109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20" h="501">
                <a:moveTo>
                  <a:pt x="274" y="0"/>
                </a:moveTo>
                <a:cubicBezTo>
                  <a:pt x="254" y="0"/>
                  <a:pt x="235" y="11"/>
                  <a:pt x="221" y="26"/>
                </a:cubicBezTo>
                <a:cubicBezTo>
                  <a:pt x="207" y="40"/>
                  <a:pt x="197" y="58"/>
                  <a:pt x="186" y="76"/>
                </a:cubicBezTo>
                <a:cubicBezTo>
                  <a:pt x="183" y="80"/>
                  <a:pt x="181" y="85"/>
                  <a:pt x="178" y="89"/>
                </a:cubicBezTo>
                <a:cubicBezTo>
                  <a:pt x="178" y="90"/>
                  <a:pt x="177" y="90"/>
                  <a:pt x="177" y="91"/>
                </a:cubicBezTo>
                <a:cubicBezTo>
                  <a:pt x="169" y="103"/>
                  <a:pt x="160" y="115"/>
                  <a:pt x="149" y="125"/>
                </a:cubicBezTo>
                <a:cubicBezTo>
                  <a:pt x="145" y="128"/>
                  <a:pt x="141" y="131"/>
                  <a:pt x="136" y="131"/>
                </a:cubicBezTo>
                <a:cubicBezTo>
                  <a:pt x="135" y="131"/>
                  <a:pt x="134" y="130"/>
                  <a:pt x="133" y="130"/>
                </a:cubicBezTo>
                <a:cubicBezTo>
                  <a:pt x="128" y="128"/>
                  <a:pt x="125" y="121"/>
                  <a:pt x="125" y="115"/>
                </a:cubicBezTo>
                <a:cubicBezTo>
                  <a:pt x="125" y="115"/>
                  <a:pt x="125" y="115"/>
                  <a:pt x="125" y="115"/>
                </a:cubicBezTo>
                <a:cubicBezTo>
                  <a:pt x="125" y="111"/>
                  <a:pt x="126" y="106"/>
                  <a:pt x="126" y="101"/>
                </a:cubicBezTo>
                <a:cubicBezTo>
                  <a:pt x="126" y="100"/>
                  <a:pt x="126" y="99"/>
                  <a:pt x="126" y="98"/>
                </a:cubicBezTo>
                <a:cubicBezTo>
                  <a:pt x="124" y="86"/>
                  <a:pt x="112" y="77"/>
                  <a:pt x="100" y="77"/>
                </a:cubicBezTo>
                <a:cubicBezTo>
                  <a:pt x="98" y="77"/>
                  <a:pt x="96" y="77"/>
                  <a:pt x="94" y="78"/>
                </a:cubicBezTo>
                <a:cubicBezTo>
                  <a:pt x="82" y="80"/>
                  <a:pt x="73" y="89"/>
                  <a:pt x="67" y="101"/>
                </a:cubicBezTo>
                <a:cubicBezTo>
                  <a:pt x="66" y="102"/>
                  <a:pt x="66" y="104"/>
                  <a:pt x="65" y="105"/>
                </a:cubicBezTo>
                <a:cubicBezTo>
                  <a:pt x="64" y="108"/>
                  <a:pt x="63" y="111"/>
                  <a:pt x="62" y="114"/>
                </a:cubicBezTo>
                <a:cubicBezTo>
                  <a:pt x="59" y="125"/>
                  <a:pt x="58" y="136"/>
                  <a:pt x="58" y="147"/>
                </a:cubicBezTo>
                <a:cubicBezTo>
                  <a:pt x="56" y="173"/>
                  <a:pt x="54" y="200"/>
                  <a:pt x="53" y="226"/>
                </a:cubicBezTo>
                <a:cubicBezTo>
                  <a:pt x="52" y="240"/>
                  <a:pt x="49" y="257"/>
                  <a:pt x="37" y="263"/>
                </a:cubicBezTo>
                <a:cubicBezTo>
                  <a:pt x="34" y="264"/>
                  <a:pt x="31" y="265"/>
                  <a:pt x="28" y="265"/>
                </a:cubicBezTo>
                <a:cubicBezTo>
                  <a:pt x="27" y="265"/>
                  <a:pt x="26" y="265"/>
                  <a:pt x="25" y="265"/>
                </a:cubicBezTo>
                <a:cubicBezTo>
                  <a:pt x="23" y="265"/>
                  <a:pt x="21" y="264"/>
                  <a:pt x="19" y="264"/>
                </a:cubicBezTo>
                <a:cubicBezTo>
                  <a:pt x="15" y="262"/>
                  <a:pt x="11" y="260"/>
                  <a:pt x="8" y="258"/>
                </a:cubicBezTo>
                <a:cubicBezTo>
                  <a:pt x="7" y="258"/>
                  <a:pt x="7" y="258"/>
                  <a:pt x="7" y="258"/>
                </a:cubicBezTo>
                <a:cubicBezTo>
                  <a:pt x="6" y="257"/>
                  <a:pt x="6" y="257"/>
                  <a:pt x="5" y="257"/>
                </a:cubicBezTo>
                <a:cubicBezTo>
                  <a:pt x="3" y="256"/>
                  <a:pt x="1" y="254"/>
                  <a:pt x="0" y="253"/>
                </a:cubicBezTo>
                <a:cubicBezTo>
                  <a:pt x="0" y="492"/>
                  <a:pt x="0" y="492"/>
                  <a:pt x="0" y="492"/>
                </a:cubicBezTo>
                <a:cubicBezTo>
                  <a:pt x="17" y="498"/>
                  <a:pt x="35" y="501"/>
                  <a:pt x="53" y="501"/>
                </a:cubicBezTo>
                <a:cubicBezTo>
                  <a:pt x="73" y="501"/>
                  <a:pt x="94" y="497"/>
                  <a:pt x="115" y="491"/>
                </a:cubicBezTo>
                <a:cubicBezTo>
                  <a:pt x="161" y="479"/>
                  <a:pt x="203" y="452"/>
                  <a:pt x="237" y="418"/>
                </a:cubicBezTo>
                <a:cubicBezTo>
                  <a:pt x="246" y="408"/>
                  <a:pt x="255" y="397"/>
                  <a:pt x="260" y="384"/>
                </a:cubicBezTo>
                <a:cubicBezTo>
                  <a:pt x="263" y="378"/>
                  <a:pt x="264" y="372"/>
                  <a:pt x="264" y="365"/>
                </a:cubicBezTo>
                <a:cubicBezTo>
                  <a:pt x="264" y="358"/>
                  <a:pt x="262" y="351"/>
                  <a:pt x="258" y="345"/>
                </a:cubicBezTo>
                <a:cubicBezTo>
                  <a:pt x="250" y="332"/>
                  <a:pt x="236" y="327"/>
                  <a:pt x="221" y="327"/>
                </a:cubicBezTo>
                <a:cubicBezTo>
                  <a:pt x="215" y="327"/>
                  <a:pt x="208" y="328"/>
                  <a:pt x="202" y="330"/>
                </a:cubicBezTo>
                <a:cubicBezTo>
                  <a:pt x="192" y="333"/>
                  <a:pt x="181" y="338"/>
                  <a:pt x="170" y="340"/>
                </a:cubicBezTo>
                <a:cubicBezTo>
                  <a:pt x="169" y="340"/>
                  <a:pt x="168" y="340"/>
                  <a:pt x="166" y="340"/>
                </a:cubicBezTo>
                <a:cubicBezTo>
                  <a:pt x="156" y="340"/>
                  <a:pt x="146" y="336"/>
                  <a:pt x="142" y="326"/>
                </a:cubicBezTo>
                <a:cubicBezTo>
                  <a:pt x="141" y="324"/>
                  <a:pt x="141" y="322"/>
                  <a:pt x="141" y="319"/>
                </a:cubicBezTo>
                <a:cubicBezTo>
                  <a:pt x="141" y="311"/>
                  <a:pt x="146" y="302"/>
                  <a:pt x="153" y="297"/>
                </a:cubicBezTo>
                <a:cubicBezTo>
                  <a:pt x="161" y="290"/>
                  <a:pt x="173" y="288"/>
                  <a:pt x="183" y="285"/>
                </a:cubicBezTo>
                <a:cubicBezTo>
                  <a:pt x="213" y="276"/>
                  <a:pt x="241" y="262"/>
                  <a:pt x="266" y="244"/>
                </a:cubicBezTo>
                <a:cubicBezTo>
                  <a:pt x="277" y="236"/>
                  <a:pt x="288" y="225"/>
                  <a:pt x="288" y="212"/>
                </a:cubicBezTo>
                <a:cubicBezTo>
                  <a:pt x="288" y="210"/>
                  <a:pt x="288" y="208"/>
                  <a:pt x="287" y="206"/>
                </a:cubicBezTo>
                <a:cubicBezTo>
                  <a:pt x="284" y="195"/>
                  <a:pt x="272" y="189"/>
                  <a:pt x="261" y="187"/>
                </a:cubicBezTo>
                <a:cubicBezTo>
                  <a:pt x="250" y="185"/>
                  <a:pt x="239" y="186"/>
                  <a:pt x="229" y="181"/>
                </a:cubicBezTo>
                <a:cubicBezTo>
                  <a:pt x="221" y="178"/>
                  <a:pt x="214" y="171"/>
                  <a:pt x="214" y="163"/>
                </a:cubicBezTo>
                <a:cubicBezTo>
                  <a:pt x="214" y="162"/>
                  <a:pt x="214" y="160"/>
                  <a:pt x="215" y="159"/>
                </a:cubicBezTo>
                <a:cubicBezTo>
                  <a:pt x="217" y="153"/>
                  <a:pt x="222" y="150"/>
                  <a:pt x="227" y="148"/>
                </a:cubicBezTo>
                <a:cubicBezTo>
                  <a:pt x="253" y="132"/>
                  <a:pt x="276" y="112"/>
                  <a:pt x="297" y="89"/>
                </a:cubicBezTo>
                <a:cubicBezTo>
                  <a:pt x="309" y="76"/>
                  <a:pt x="320" y="59"/>
                  <a:pt x="320" y="42"/>
                </a:cubicBezTo>
                <a:cubicBezTo>
                  <a:pt x="320" y="39"/>
                  <a:pt x="320" y="37"/>
                  <a:pt x="320" y="35"/>
                </a:cubicBezTo>
                <a:cubicBezTo>
                  <a:pt x="316" y="14"/>
                  <a:pt x="295" y="0"/>
                  <a:pt x="275" y="0"/>
                </a:cubicBezTo>
                <a:cubicBezTo>
                  <a:pt x="275" y="0"/>
                  <a:pt x="274" y="0"/>
                  <a:pt x="274" y="0"/>
                </a:cubicBezTo>
              </a:path>
            </a:pathLst>
          </a:custGeom>
          <a:solidFill>
            <a:srgbClr val="002E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2" name="Freeform 47">
            <a:extLst>
              <a:ext uri="{FF2B5EF4-FFF2-40B4-BE49-F238E27FC236}">
                <a16:creationId xmlns:a16="http://schemas.microsoft.com/office/drawing/2014/main" id="{5109BFF9-EE2C-788B-6B52-E971D20761CA}"/>
              </a:ext>
            </a:extLst>
          </p:cNvPr>
          <p:cNvSpPr>
            <a:spLocks/>
          </p:cNvSpPr>
          <p:nvPr/>
        </p:nvSpPr>
        <p:spPr bwMode="auto">
          <a:xfrm rot="17573537">
            <a:off x="11148141" y="4143190"/>
            <a:ext cx="952468" cy="1603032"/>
          </a:xfrm>
          <a:custGeom>
            <a:avLst/>
            <a:gdLst>
              <a:gd name="T0" fmla="*/ 0 w 323"/>
              <a:gd name="T1" fmla="*/ 535 h 535"/>
              <a:gd name="T2" fmla="*/ 31 w 323"/>
              <a:gd name="T3" fmla="*/ 420 h 535"/>
              <a:gd name="T4" fmla="*/ 91 w 323"/>
              <a:gd name="T5" fmla="*/ 287 h 535"/>
              <a:gd name="T6" fmla="*/ 108 w 323"/>
              <a:gd name="T7" fmla="*/ 253 h 535"/>
              <a:gd name="T8" fmla="*/ 126 w 323"/>
              <a:gd name="T9" fmla="*/ 221 h 535"/>
              <a:gd name="T10" fmla="*/ 165 w 323"/>
              <a:gd name="T11" fmla="*/ 162 h 535"/>
              <a:gd name="T12" fmla="*/ 204 w 323"/>
              <a:gd name="T13" fmla="*/ 113 h 535"/>
              <a:gd name="T14" fmla="*/ 240 w 323"/>
              <a:gd name="T15" fmla="*/ 71 h 535"/>
              <a:gd name="T16" fmla="*/ 299 w 323"/>
              <a:gd name="T17" fmla="*/ 17 h 535"/>
              <a:gd name="T18" fmla="*/ 316 w 323"/>
              <a:gd name="T19" fmla="*/ 4 h 535"/>
              <a:gd name="T20" fmla="*/ 321 w 323"/>
              <a:gd name="T21" fmla="*/ 1 h 535"/>
              <a:gd name="T22" fmla="*/ 323 w 323"/>
              <a:gd name="T23" fmla="*/ 0 h 535"/>
              <a:gd name="T24" fmla="*/ 321 w 323"/>
              <a:gd name="T25" fmla="*/ 1 h 535"/>
              <a:gd name="T26" fmla="*/ 317 w 323"/>
              <a:gd name="T27" fmla="*/ 4 h 535"/>
              <a:gd name="T28" fmla="*/ 300 w 323"/>
              <a:gd name="T29" fmla="*/ 18 h 535"/>
              <a:gd name="T30" fmla="*/ 242 w 323"/>
              <a:gd name="T31" fmla="*/ 72 h 535"/>
              <a:gd name="T32" fmla="*/ 206 w 323"/>
              <a:gd name="T33" fmla="*/ 114 h 535"/>
              <a:gd name="T34" fmla="*/ 167 w 323"/>
              <a:gd name="T35" fmla="*/ 164 h 535"/>
              <a:gd name="T36" fmla="*/ 128 w 323"/>
              <a:gd name="T37" fmla="*/ 222 h 535"/>
              <a:gd name="T38" fmla="*/ 110 w 323"/>
              <a:gd name="T39" fmla="*/ 254 h 535"/>
              <a:gd name="T40" fmla="*/ 93 w 323"/>
              <a:gd name="T41" fmla="*/ 288 h 535"/>
              <a:gd name="T42" fmla="*/ 33 w 323"/>
              <a:gd name="T43" fmla="*/ 421 h 535"/>
              <a:gd name="T44" fmla="*/ 2 w 323"/>
              <a:gd name="T45" fmla="*/ 535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23" h="535">
                <a:moveTo>
                  <a:pt x="0" y="535"/>
                </a:moveTo>
                <a:cubicBezTo>
                  <a:pt x="5" y="501"/>
                  <a:pt x="15" y="462"/>
                  <a:pt x="31" y="420"/>
                </a:cubicBezTo>
                <a:cubicBezTo>
                  <a:pt x="46" y="378"/>
                  <a:pt x="67" y="333"/>
                  <a:pt x="91" y="287"/>
                </a:cubicBezTo>
                <a:cubicBezTo>
                  <a:pt x="96" y="276"/>
                  <a:pt x="102" y="264"/>
                  <a:pt x="108" y="253"/>
                </a:cubicBezTo>
                <a:cubicBezTo>
                  <a:pt x="114" y="242"/>
                  <a:pt x="119" y="231"/>
                  <a:pt x="126" y="221"/>
                </a:cubicBezTo>
                <a:cubicBezTo>
                  <a:pt x="138" y="200"/>
                  <a:pt x="151" y="180"/>
                  <a:pt x="165" y="162"/>
                </a:cubicBezTo>
                <a:cubicBezTo>
                  <a:pt x="178" y="145"/>
                  <a:pt x="192" y="128"/>
                  <a:pt x="204" y="113"/>
                </a:cubicBezTo>
                <a:cubicBezTo>
                  <a:pt x="217" y="97"/>
                  <a:pt x="229" y="83"/>
                  <a:pt x="240" y="71"/>
                </a:cubicBezTo>
                <a:cubicBezTo>
                  <a:pt x="263" y="46"/>
                  <a:pt x="284" y="29"/>
                  <a:pt x="299" y="17"/>
                </a:cubicBezTo>
                <a:cubicBezTo>
                  <a:pt x="306" y="11"/>
                  <a:pt x="312" y="7"/>
                  <a:pt x="316" y="4"/>
                </a:cubicBezTo>
                <a:cubicBezTo>
                  <a:pt x="318" y="3"/>
                  <a:pt x="320" y="2"/>
                  <a:pt x="321" y="1"/>
                </a:cubicBezTo>
                <a:cubicBezTo>
                  <a:pt x="322" y="0"/>
                  <a:pt x="323" y="0"/>
                  <a:pt x="323" y="0"/>
                </a:cubicBezTo>
                <a:cubicBezTo>
                  <a:pt x="323" y="0"/>
                  <a:pt x="322" y="0"/>
                  <a:pt x="321" y="1"/>
                </a:cubicBezTo>
                <a:cubicBezTo>
                  <a:pt x="320" y="2"/>
                  <a:pt x="318" y="3"/>
                  <a:pt x="317" y="4"/>
                </a:cubicBezTo>
                <a:cubicBezTo>
                  <a:pt x="313" y="8"/>
                  <a:pt x="307" y="12"/>
                  <a:pt x="300" y="18"/>
                </a:cubicBezTo>
                <a:cubicBezTo>
                  <a:pt x="285" y="30"/>
                  <a:pt x="264" y="48"/>
                  <a:pt x="242" y="72"/>
                </a:cubicBezTo>
                <a:cubicBezTo>
                  <a:pt x="230" y="85"/>
                  <a:pt x="218" y="99"/>
                  <a:pt x="206" y="114"/>
                </a:cubicBezTo>
                <a:cubicBezTo>
                  <a:pt x="193" y="130"/>
                  <a:pt x="180" y="146"/>
                  <a:pt x="167" y="164"/>
                </a:cubicBezTo>
                <a:cubicBezTo>
                  <a:pt x="153" y="182"/>
                  <a:pt x="140" y="201"/>
                  <a:pt x="128" y="222"/>
                </a:cubicBezTo>
                <a:cubicBezTo>
                  <a:pt x="122" y="232"/>
                  <a:pt x="116" y="243"/>
                  <a:pt x="110" y="254"/>
                </a:cubicBezTo>
                <a:cubicBezTo>
                  <a:pt x="105" y="266"/>
                  <a:pt x="99" y="277"/>
                  <a:pt x="93" y="288"/>
                </a:cubicBezTo>
                <a:cubicBezTo>
                  <a:pt x="70" y="334"/>
                  <a:pt x="49" y="379"/>
                  <a:pt x="33" y="421"/>
                </a:cubicBezTo>
                <a:cubicBezTo>
                  <a:pt x="18" y="463"/>
                  <a:pt x="7" y="502"/>
                  <a:pt x="2" y="53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36611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Freeform: Shape 693">
            <a:extLst>
              <a:ext uri="{FF2B5EF4-FFF2-40B4-BE49-F238E27FC236}">
                <a16:creationId xmlns:a16="http://schemas.microsoft.com/office/drawing/2014/main" id="{194499D0-8A38-40B1-B2A9-557C55E7BB71}"/>
              </a:ext>
            </a:extLst>
          </p:cNvPr>
          <p:cNvSpPr/>
          <p:nvPr/>
        </p:nvSpPr>
        <p:spPr>
          <a:xfrm>
            <a:off x="0" y="4377542"/>
            <a:ext cx="12192000" cy="2499508"/>
          </a:xfrm>
          <a:custGeom>
            <a:avLst/>
            <a:gdLst>
              <a:gd name="connsiteX0" fmla="*/ 1333500 w 12192000"/>
              <a:gd name="connsiteY0" fmla="*/ 208 h 2927305"/>
              <a:gd name="connsiteX1" fmla="*/ 6096000 w 12192000"/>
              <a:gd name="connsiteY1" fmla="*/ 212331 h 2927305"/>
              <a:gd name="connsiteX2" fmla="*/ 12192000 w 12192000"/>
              <a:gd name="connsiteY2" fmla="*/ 212331 h 2927305"/>
              <a:gd name="connsiteX3" fmla="*/ 12192000 w 12192000"/>
              <a:gd name="connsiteY3" fmla="*/ 2692129 h 2927305"/>
              <a:gd name="connsiteX4" fmla="*/ 12190186 w 12192000"/>
              <a:gd name="connsiteY4" fmla="*/ 2692726 h 2927305"/>
              <a:gd name="connsiteX5" fmla="*/ 12190186 w 12192000"/>
              <a:gd name="connsiteY5" fmla="*/ 2927305 h 2927305"/>
              <a:gd name="connsiteX6" fmla="*/ 0 w 12192000"/>
              <a:gd name="connsiteY6" fmla="*/ 2927305 h 2927305"/>
              <a:gd name="connsiteX7" fmla="*/ 0 w 12192000"/>
              <a:gd name="connsiteY7" fmla="*/ 2692129 h 2927305"/>
              <a:gd name="connsiteX8" fmla="*/ 0 w 12192000"/>
              <a:gd name="connsiteY8" fmla="*/ 1200105 h 2927305"/>
              <a:gd name="connsiteX9" fmla="*/ 0 w 12192000"/>
              <a:gd name="connsiteY9" fmla="*/ 212331 h 2927305"/>
              <a:gd name="connsiteX10" fmla="*/ 1333500 w 12192000"/>
              <a:gd name="connsiteY10" fmla="*/ 208 h 292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2927305">
                <a:moveTo>
                  <a:pt x="1333500" y="208"/>
                </a:moveTo>
                <a:cubicBezTo>
                  <a:pt x="2921000" y="14799"/>
                  <a:pt x="4508500" y="786970"/>
                  <a:pt x="6096000" y="212331"/>
                </a:cubicBezTo>
                <a:cubicBezTo>
                  <a:pt x="8128000" y="-523207"/>
                  <a:pt x="10160000" y="947869"/>
                  <a:pt x="12192000" y="212331"/>
                </a:cubicBezTo>
                <a:lnTo>
                  <a:pt x="12192000" y="2692129"/>
                </a:lnTo>
                <a:lnTo>
                  <a:pt x="12190186" y="2692726"/>
                </a:lnTo>
                <a:lnTo>
                  <a:pt x="12190186" y="2927305"/>
                </a:lnTo>
                <a:lnTo>
                  <a:pt x="0" y="2927305"/>
                </a:lnTo>
                <a:lnTo>
                  <a:pt x="0" y="2692129"/>
                </a:lnTo>
                <a:lnTo>
                  <a:pt x="0" y="1200105"/>
                </a:lnTo>
                <a:lnTo>
                  <a:pt x="0" y="212331"/>
                </a:lnTo>
                <a:cubicBezTo>
                  <a:pt x="444500" y="51432"/>
                  <a:pt x="889000" y="-3877"/>
                  <a:pt x="1333500" y="208"/>
                </a:cubicBezTo>
                <a:close/>
              </a:path>
            </a:pathLst>
          </a:cu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15" y="2255776"/>
            <a:ext cx="5636828" cy="485977"/>
          </a:xfrm>
        </p:spPr>
        <p:txBody>
          <a:bodyPr>
            <a:norm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AM INTRODUCTION:</a:t>
            </a:r>
            <a:endParaRPr lang="en-ID" sz="2800" dirty="0">
              <a:solidFill>
                <a:srgbClr val="002E3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BC2D0-8324-498A-A02E-45A310624B6C}"/>
              </a:ext>
            </a:extLst>
          </p:cNvPr>
          <p:cNvGrpSpPr/>
          <p:nvPr/>
        </p:nvGrpSpPr>
        <p:grpSpPr>
          <a:xfrm>
            <a:off x="383601" y="2533451"/>
            <a:ext cx="10494842" cy="4066550"/>
            <a:chOff x="550904" y="1818635"/>
            <a:chExt cx="9130317" cy="4143106"/>
          </a:xfrm>
        </p:grpSpPr>
        <p:sp>
          <p:nvSpPr>
            <p:cNvPr id="362" name="Rectangle: Rounded Corners 361">
              <a:extLst>
                <a:ext uri="{FF2B5EF4-FFF2-40B4-BE49-F238E27FC236}">
                  <a16:creationId xmlns:a16="http://schemas.microsoft.com/office/drawing/2014/main" id="{AE10C6F4-8829-403F-9737-580E32C493AB}"/>
                </a:ext>
              </a:extLst>
            </p:cNvPr>
            <p:cNvSpPr/>
            <p:nvPr/>
          </p:nvSpPr>
          <p:spPr>
            <a:xfrm>
              <a:off x="550904" y="2001949"/>
              <a:ext cx="2953835" cy="3934398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363" name="Rectangle: Top Corners Rounded 362">
              <a:extLst>
                <a:ext uri="{FF2B5EF4-FFF2-40B4-BE49-F238E27FC236}">
                  <a16:creationId xmlns:a16="http://schemas.microsoft.com/office/drawing/2014/main" id="{E157AF6B-F7D9-465D-88A9-EAB44EB8C0CC}"/>
                </a:ext>
              </a:extLst>
            </p:cNvPr>
            <p:cNvSpPr/>
            <p:nvPr/>
          </p:nvSpPr>
          <p:spPr>
            <a:xfrm>
              <a:off x="550904" y="2112838"/>
              <a:ext cx="2953833" cy="331253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49" name="Rectangle: Rounded Corners 648">
              <a:extLst>
                <a:ext uri="{FF2B5EF4-FFF2-40B4-BE49-F238E27FC236}">
                  <a16:creationId xmlns:a16="http://schemas.microsoft.com/office/drawing/2014/main" id="{9B08538A-D93F-4357-834F-668538C1FFB7}"/>
                </a:ext>
              </a:extLst>
            </p:cNvPr>
            <p:cNvSpPr/>
            <p:nvPr/>
          </p:nvSpPr>
          <p:spPr>
            <a:xfrm>
              <a:off x="3646173" y="2001949"/>
              <a:ext cx="2953835" cy="3934398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650" name="Rectangle: Top Corners Rounded 649">
              <a:extLst>
                <a:ext uri="{FF2B5EF4-FFF2-40B4-BE49-F238E27FC236}">
                  <a16:creationId xmlns:a16="http://schemas.microsoft.com/office/drawing/2014/main" id="{DE5DA378-DD38-4FC2-A7DE-7F311ECAD0AF}"/>
                </a:ext>
              </a:extLst>
            </p:cNvPr>
            <p:cNvSpPr/>
            <p:nvPr/>
          </p:nvSpPr>
          <p:spPr>
            <a:xfrm>
              <a:off x="3646173" y="2112837"/>
              <a:ext cx="2953833" cy="341455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51" name="Group 650">
              <a:extLst>
                <a:ext uri="{FF2B5EF4-FFF2-40B4-BE49-F238E27FC236}">
                  <a16:creationId xmlns:a16="http://schemas.microsoft.com/office/drawing/2014/main" id="{0FAD4AD6-E131-47DC-B52F-0ABC47A6FD8F}"/>
                </a:ext>
              </a:extLst>
            </p:cNvPr>
            <p:cNvGrpSpPr/>
            <p:nvPr/>
          </p:nvGrpSpPr>
          <p:grpSpPr>
            <a:xfrm>
              <a:off x="3777900" y="1990023"/>
              <a:ext cx="225425" cy="365102"/>
              <a:chOff x="1048530" y="2135163"/>
              <a:chExt cx="225425" cy="365102"/>
            </a:xfrm>
          </p:grpSpPr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B18C8283-F8B3-446E-9930-10305588518E}"/>
                  </a:ext>
                </a:extLst>
              </p:cNvPr>
              <p:cNvSpPr/>
              <p:nvPr/>
            </p:nvSpPr>
            <p:spPr>
              <a:xfrm>
                <a:off x="1048530" y="2260510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653" name="Rectangle: Rounded Corners 652">
                <a:extLst>
                  <a:ext uri="{FF2B5EF4-FFF2-40B4-BE49-F238E27FC236}">
                    <a16:creationId xmlns:a16="http://schemas.microsoft.com/office/drawing/2014/main" id="{A231ED14-C078-46F5-94A5-FB26A8AD18CC}"/>
                  </a:ext>
                </a:extLst>
              </p:cNvPr>
              <p:cNvSpPr/>
              <p:nvPr/>
            </p:nvSpPr>
            <p:spPr>
              <a:xfrm rot="5400000">
                <a:off x="983487" y="2250727"/>
                <a:ext cx="365102" cy="1339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AC5C41A7-2131-4924-8239-C2AEE0629284}"/>
                </a:ext>
              </a:extLst>
            </p:cNvPr>
            <p:cNvSpPr/>
            <p:nvPr/>
          </p:nvSpPr>
          <p:spPr>
            <a:xfrm>
              <a:off x="6250124" y="1818635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sp>
          <p:nvSpPr>
            <p:cNvPr id="659" name="Rectangle: Rounded Corners 658">
              <a:extLst>
                <a:ext uri="{FF2B5EF4-FFF2-40B4-BE49-F238E27FC236}">
                  <a16:creationId xmlns:a16="http://schemas.microsoft.com/office/drawing/2014/main" id="{99FA98C5-7FE9-4A5B-9DE8-FCA06D964FCE}"/>
                </a:ext>
              </a:extLst>
            </p:cNvPr>
            <p:cNvSpPr/>
            <p:nvPr/>
          </p:nvSpPr>
          <p:spPr>
            <a:xfrm>
              <a:off x="6727386" y="2001949"/>
              <a:ext cx="2953835" cy="3934398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660" name="Rectangle: Top Corners Rounded 659">
              <a:extLst>
                <a:ext uri="{FF2B5EF4-FFF2-40B4-BE49-F238E27FC236}">
                  <a16:creationId xmlns:a16="http://schemas.microsoft.com/office/drawing/2014/main" id="{EEB9817C-2742-49F5-97E7-8E010E2DFD53}"/>
                </a:ext>
              </a:extLst>
            </p:cNvPr>
            <p:cNvSpPr/>
            <p:nvPr/>
          </p:nvSpPr>
          <p:spPr>
            <a:xfrm>
              <a:off x="6727386" y="2073274"/>
              <a:ext cx="2953833" cy="360473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80CB091F-80A6-42C6-A2EC-ADAFA85BBB2E}"/>
                </a:ext>
              </a:extLst>
            </p:cNvPr>
            <p:cNvSpPr/>
            <p:nvPr/>
          </p:nvSpPr>
          <p:spPr>
            <a:xfrm>
              <a:off x="6859113" y="1818636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6652265B-8C63-419D-8DBE-9CB1261408DF}"/>
                </a:ext>
              </a:extLst>
            </p:cNvPr>
            <p:cNvSpPr/>
            <p:nvPr/>
          </p:nvSpPr>
          <p:spPr>
            <a:xfrm>
              <a:off x="9331337" y="1818635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A68235C-8472-4F5F-8B96-9ED9462B0BF9}"/>
                </a:ext>
              </a:extLst>
            </p:cNvPr>
            <p:cNvGrpSpPr/>
            <p:nvPr/>
          </p:nvGrpSpPr>
          <p:grpSpPr>
            <a:xfrm>
              <a:off x="682631" y="1990509"/>
              <a:ext cx="225425" cy="429417"/>
              <a:chOff x="1048530" y="2135649"/>
              <a:chExt cx="225425" cy="429417"/>
            </a:xfrm>
          </p:grpSpPr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E7F2C9BE-14D6-4576-B9C1-600C0EC1185F}"/>
                  </a:ext>
                </a:extLst>
              </p:cNvPr>
              <p:cNvSpPr/>
              <p:nvPr/>
            </p:nvSpPr>
            <p:spPr>
              <a:xfrm>
                <a:off x="1048530" y="2339641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366" name="Rectangle: Rounded Corners 365">
                <a:extLst>
                  <a:ext uri="{FF2B5EF4-FFF2-40B4-BE49-F238E27FC236}">
                    <a16:creationId xmlns:a16="http://schemas.microsoft.com/office/drawing/2014/main" id="{A5683C38-B1AA-4FF0-B298-5FCB4C5302F6}"/>
                  </a:ext>
                </a:extLst>
              </p:cNvPr>
              <p:cNvSpPr/>
              <p:nvPr/>
            </p:nvSpPr>
            <p:spPr>
              <a:xfrm rot="5400000">
                <a:off x="950410" y="2276995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sp>
          <p:nvSpPr>
            <p:cNvPr id="625" name="Picture Placeholder 62">
              <a:extLst>
                <a:ext uri="{FF2B5EF4-FFF2-40B4-BE49-F238E27FC236}">
                  <a16:creationId xmlns:a16="http://schemas.microsoft.com/office/drawing/2014/main" id="{79572B28-6B1D-4A0C-872F-0E41894AEB71}"/>
                </a:ext>
              </a:extLst>
            </p:cNvPr>
            <p:cNvSpPr txBox="1">
              <a:spLocks/>
            </p:cNvSpPr>
            <p:nvPr/>
          </p:nvSpPr>
          <p:spPr>
            <a:xfrm>
              <a:off x="4599462" y="2398306"/>
              <a:ext cx="1442604" cy="1442604"/>
            </a:xfrm>
            <a:prstGeom prst="ellipse">
              <a:avLst/>
            </a:prstGeom>
          </p:spPr>
        </p:sp>
        <p:sp>
          <p:nvSpPr>
            <p:cNvPr id="614" name="Rectangle: Rounded Corners 613">
              <a:extLst>
                <a:ext uri="{FF2B5EF4-FFF2-40B4-BE49-F238E27FC236}">
                  <a16:creationId xmlns:a16="http://schemas.microsoft.com/office/drawing/2014/main" id="{159BE5F1-2159-4068-B6E6-EF749050A2DE}"/>
                </a:ext>
              </a:extLst>
            </p:cNvPr>
            <p:cNvSpPr/>
            <p:nvPr/>
          </p:nvSpPr>
          <p:spPr>
            <a:xfrm>
              <a:off x="929444" y="5152805"/>
              <a:ext cx="2160000" cy="322787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DEEPA T</a:t>
              </a:r>
            </a:p>
          </p:txBody>
        </p:sp>
        <p:sp>
          <p:nvSpPr>
            <p:cNvPr id="637" name="Picture Placeholder 62">
              <a:extLst>
                <a:ext uri="{FF2B5EF4-FFF2-40B4-BE49-F238E27FC236}">
                  <a16:creationId xmlns:a16="http://schemas.microsoft.com/office/drawing/2014/main" id="{D3634ACF-E084-4494-8328-27FBCA83034C}"/>
                </a:ext>
              </a:extLst>
            </p:cNvPr>
            <p:cNvSpPr txBox="1">
              <a:spLocks/>
            </p:cNvSpPr>
            <p:nvPr/>
          </p:nvSpPr>
          <p:spPr>
            <a:xfrm>
              <a:off x="7764698" y="2398306"/>
              <a:ext cx="1442604" cy="1442604"/>
            </a:xfrm>
            <a:prstGeom prst="ellipse">
              <a:avLst/>
            </a:prstGeom>
          </p:spPr>
        </p:sp>
        <p:sp>
          <p:nvSpPr>
            <p:cNvPr id="639" name="Picture Placeholder 62">
              <a:extLst>
                <a:ext uri="{FF2B5EF4-FFF2-40B4-BE49-F238E27FC236}">
                  <a16:creationId xmlns:a16="http://schemas.microsoft.com/office/drawing/2014/main" id="{4A2C3180-50F3-4BF0-92F7-CA35574BBABE}"/>
                </a:ext>
              </a:extLst>
            </p:cNvPr>
            <p:cNvSpPr txBox="1">
              <a:spLocks/>
            </p:cNvSpPr>
            <p:nvPr/>
          </p:nvSpPr>
          <p:spPr>
            <a:xfrm>
              <a:off x="4599460" y="2398306"/>
              <a:ext cx="1442604" cy="1442604"/>
            </a:xfrm>
            <a:prstGeom prst="ellipse">
              <a:avLst/>
            </a:prstGeom>
          </p:spPr>
        </p:sp>
        <p:sp>
          <p:nvSpPr>
            <p:cNvPr id="658" name="Rectangle: Rounded Corners 657">
              <a:extLst>
                <a:ext uri="{FF2B5EF4-FFF2-40B4-BE49-F238E27FC236}">
                  <a16:creationId xmlns:a16="http://schemas.microsoft.com/office/drawing/2014/main" id="{993B1622-A0C1-489E-A739-076666CFF5AA}"/>
                </a:ext>
              </a:extLst>
            </p:cNvPr>
            <p:cNvSpPr/>
            <p:nvPr/>
          </p:nvSpPr>
          <p:spPr>
            <a:xfrm>
              <a:off x="3828421" y="5210133"/>
              <a:ext cx="2572378" cy="321135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HWETA   BHALKE</a:t>
              </a:r>
            </a:p>
          </p:txBody>
        </p:sp>
        <p:sp>
          <p:nvSpPr>
            <p:cNvPr id="668" name="Rectangle: Rounded Corners 667">
              <a:extLst>
                <a:ext uri="{FF2B5EF4-FFF2-40B4-BE49-F238E27FC236}">
                  <a16:creationId xmlns:a16="http://schemas.microsoft.com/office/drawing/2014/main" id="{0552E73E-9B72-4C08-894B-BB6FEE26F7F8}"/>
                </a:ext>
              </a:extLst>
            </p:cNvPr>
            <p:cNvSpPr/>
            <p:nvPr/>
          </p:nvSpPr>
          <p:spPr>
            <a:xfrm>
              <a:off x="7143334" y="5109026"/>
              <a:ext cx="2160000" cy="322787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AJWAL   I</a:t>
              </a:r>
            </a:p>
          </p:txBody>
        </p:sp>
        <p:sp>
          <p:nvSpPr>
            <p:cNvPr id="684" name="Freeform 14">
              <a:extLst>
                <a:ext uri="{FF2B5EF4-FFF2-40B4-BE49-F238E27FC236}">
                  <a16:creationId xmlns:a16="http://schemas.microsoft.com/office/drawing/2014/main" id="{D9FBD1E8-3CF8-4C78-A522-EF7C3986E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8896" y="5855378"/>
              <a:ext cx="150813" cy="106363"/>
            </a:xfrm>
            <a:custGeom>
              <a:avLst/>
              <a:gdLst>
                <a:gd name="T0" fmla="*/ 95 w 95"/>
                <a:gd name="T1" fmla="*/ 0 h 67"/>
                <a:gd name="T2" fmla="*/ 24 w 95"/>
                <a:gd name="T3" fmla="*/ 67 h 67"/>
                <a:gd name="T4" fmla="*/ 0 w 95"/>
                <a:gd name="T5" fmla="*/ 4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67">
                  <a:moveTo>
                    <a:pt x="95" y="0"/>
                  </a:moveTo>
                  <a:lnTo>
                    <a:pt x="24" y="67"/>
                  </a:lnTo>
                  <a:lnTo>
                    <a:pt x="0" y="43"/>
                  </a:lnTo>
                </a:path>
              </a:pathLst>
            </a:custGeom>
            <a:noFill/>
            <a:ln w="31750" cap="rnd">
              <a:solidFill>
                <a:srgbClr val="F2F2F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70" name="Oval 869">
            <a:extLst>
              <a:ext uri="{FF2B5EF4-FFF2-40B4-BE49-F238E27FC236}">
                <a16:creationId xmlns:a16="http://schemas.microsoft.com/office/drawing/2014/main" id="{C2F1DC67-619A-501E-228D-187D05DE001B}"/>
              </a:ext>
            </a:extLst>
          </p:cNvPr>
          <p:cNvSpPr/>
          <p:nvPr/>
        </p:nvSpPr>
        <p:spPr>
          <a:xfrm>
            <a:off x="1759540" y="6140071"/>
            <a:ext cx="723493" cy="657193"/>
          </a:xfrm>
          <a:prstGeom prst="ellipse">
            <a:avLst/>
          </a:prstGeom>
          <a:solidFill>
            <a:srgbClr val="0D616C"/>
          </a:solidFill>
          <a:ln w="3810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1" name="Freeform 14">
            <a:extLst>
              <a:ext uri="{FF2B5EF4-FFF2-40B4-BE49-F238E27FC236}">
                <a16:creationId xmlns:a16="http://schemas.microsoft.com/office/drawing/2014/main" id="{E7AADCE2-0F8A-0F25-0F68-A3E3841022E8}"/>
              </a:ext>
            </a:extLst>
          </p:cNvPr>
          <p:cNvSpPr>
            <a:spLocks/>
          </p:cNvSpPr>
          <p:nvPr/>
        </p:nvSpPr>
        <p:spPr bwMode="auto">
          <a:xfrm>
            <a:off x="2041821" y="6400467"/>
            <a:ext cx="150813" cy="104412"/>
          </a:xfrm>
          <a:custGeom>
            <a:avLst/>
            <a:gdLst>
              <a:gd name="T0" fmla="*/ 95 w 95"/>
              <a:gd name="T1" fmla="*/ 0 h 67"/>
              <a:gd name="T2" fmla="*/ 24 w 95"/>
              <a:gd name="T3" fmla="*/ 67 h 67"/>
              <a:gd name="T4" fmla="*/ 0 w 95"/>
              <a:gd name="T5" fmla="*/ 4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5" h="67">
                <a:moveTo>
                  <a:pt x="95" y="0"/>
                </a:moveTo>
                <a:lnTo>
                  <a:pt x="24" y="67"/>
                </a:lnTo>
                <a:lnTo>
                  <a:pt x="0" y="43"/>
                </a:lnTo>
              </a:path>
            </a:pathLst>
          </a:cu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2" name="Oval 871">
            <a:extLst>
              <a:ext uri="{FF2B5EF4-FFF2-40B4-BE49-F238E27FC236}">
                <a16:creationId xmlns:a16="http://schemas.microsoft.com/office/drawing/2014/main" id="{676DDD13-1DC4-45A4-7666-464DFD54D7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4984" y="6282030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5" name="Oval 874">
            <a:extLst>
              <a:ext uri="{FF2B5EF4-FFF2-40B4-BE49-F238E27FC236}">
                <a16:creationId xmlns:a16="http://schemas.microsoft.com/office/drawing/2014/main" id="{8F2BAC31-8802-5D73-5298-1B28D86A2F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691" y="5786934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6" name="Oval 875">
            <a:extLst>
              <a:ext uri="{FF2B5EF4-FFF2-40B4-BE49-F238E27FC236}">
                <a16:creationId xmlns:a16="http://schemas.microsoft.com/office/drawing/2014/main" id="{D9979CBA-242E-D21B-C374-2B2E8CE453D9}"/>
              </a:ext>
            </a:extLst>
          </p:cNvPr>
          <p:cNvSpPr/>
          <p:nvPr/>
        </p:nvSpPr>
        <p:spPr>
          <a:xfrm>
            <a:off x="8825103" y="6169030"/>
            <a:ext cx="723493" cy="657193"/>
          </a:xfrm>
          <a:prstGeom prst="ellipse">
            <a:avLst/>
          </a:prstGeom>
          <a:solidFill>
            <a:srgbClr val="0D616C"/>
          </a:solidFill>
          <a:ln w="3810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7" name="Freeform 14">
            <a:extLst>
              <a:ext uri="{FF2B5EF4-FFF2-40B4-BE49-F238E27FC236}">
                <a16:creationId xmlns:a16="http://schemas.microsoft.com/office/drawing/2014/main" id="{1B52C37D-20F4-3120-E628-21CF4338BD17}"/>
              </a:ext>
            </a:extLst>
          </p:cNvPr>
          <p:cNvSpPr>
            <a:spLocks/>
          </p:cNvSpPr>
          <p:nvPr/>
        </p:nvSpPr>
        <p:spPr bwMode="auto">
          <a:xfrm>
            <a:off x="9107384" y="6429426"/>
            <a:ext cx="150813" cy="104412"/>
          </a:xfrm>
          <a:custGeom>
            <a:avLst/>
            <a:gdLst>
              <a:gd name="T0" fmla="*/ 95 w 95"/>
              <a:gd name="T1" fmla="*/ 0 h 67"/>
              <a:gd name="T2" fmla="*/ 24 w 95"/>
              <a:gd name="T3" fmla="*/ 67 h 67"/>
              <a:gd name="T4" fmla="*/ 0 w 95"/>
              <a:gd name="T5" fmla="*/ 4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5" h="67">
                <a:moveTo>
                  <a:pt x="95" y="0"/>
                </a:moveTo>
                <a:lnTo>
                  <a:pt x="24" y="67"/>
                </a:lnTo>
                <a:lnTo>
                  <a:pt x="0" y="43"/>
                </a:lnTo>
              </a:path>
            </a:pathLst>
          </a:cu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8" name="Oval 877">
            <a:extLst>
              <a:ext uri="{FF2B5EF4-FFF2-40B4-BE49-F238E27FC236}">
                <a16:creationId xmlns:a16="http://schemas.microsoft.com/office/drawing/2014/main" id="{9B45980C-E23C-7EBF-EB32-6B563840EB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0547" y="6310989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9" name="AutoShape 2">
            <a:extLst>
              <a:ext uri="{FF2B5EF4-FFF2-40B4-BE49-F238E27FC236}">
                <a16:creationId xmlns:a16="http://schemas.microsoft.com/office/drawing/2014/main" id="{3ECE8925-1647-A218-ED5D-58661AF1EDC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956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" name="AutoShape 4">
            <a:extLst>
              <a:ext uri="{FF2B5EF4-FFF2-40B4-BE49-F238E27FC236}">
                <a16:creationId xmlns:a16="http://schemas.microsoft.com/office/drawing/2014/main" id="{71F1461B-4275-886A-4455-9BA93AB8D1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480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85" name="Picture 884">
            <a:extLst>
              <a:ext uri="{FF2B5EF4-FFF2-40B4-BE49-F238E27FC236}">
                <a16:creationId xmlns:a16="http://schemas.microsoft.com/office/drawing/2014/main" id="{DFE4D1AC-8D69-C1B5-7C0A-3331F83676A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"/>
          <a:stretch/>
        </p:blipFill>
        <p:spPr>
          <a:xfrm>
            <a:off x="889756" y="3254781"/>
            <a:ext cx="2495875" cy="2463027"/>
          </a:xfrm>
          <a:prstGeom prst="ellipse">
            <a:avLst/>
          </a:prstGeom>
          <a:ln w="63500" cap="rnd">
            <a:solidFill>
              <a:srgbClr val="95B7A9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87" name="Picture 886">
            <a:extLst>
              <a:ext uri="{FF2B5EF4-FFF2-40B4-BE49-F238E27FC236}">
                <a16:creationId xmlns:a16="http://schemas.microsoft.com/office/drawing/2014/main" id="{906026B0-BFBC-B467-0170-1E46DDAC21A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1" t="2798" r="3605" b="12682"/>
          <a:stretch/>
        </p:blipFill>
        <p:spPr>
          <a:xfrm>
            <a:off x="4462938" y="3248229"/>
            <a:ext cx="2415291" cy="2548030"/>
          </a:xfrm>
          <a:prstGeom prst="ellipse">
            <a:avLst/>
          </a:prstGeom>
          <a:ln w="63500" cap="rnd">
            <a:solidFill>
              <a:srgbClr val="95B7A9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89" name="Picture 888">
            <a:extLst>
              <a:ext uri="{FF2B5EF4-FFF2-40B4-BE49-F238E27FC236}">
                <a16:creationId xmlns:a16="http://schemas.microsoft.com/office/drawing/2014/main" id="{25AB088B-D43E-2195-73E2-45F496B88FD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58"/>
          <a:stretch/>
        </p:blipFill>
        <p:spPr>
          <a:xfrm>
            <a:off x="8004132" y="3273474"/>
            <a:ext cx="2255089" cy="2441381"/>
          </a:xfrm>
          <a:prstGeom prst="ellipse">
            <a:avLst/>
          </a:prstGeom>
          <a:ln w="63500" cap="rnd">
            <a:solidFill>
              <a:srgbClr val="95B7A9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890" name="Oval 889">
            <a:extLst>
              <a:ext uri="{FF2B5EF4-FFF2-40B4-BE49-F238E27FC236}">
                <a16:creationId xmlns:a16="http://schemas.microsoft.com/office/drawing/2014/main" id="{81CAE4CB-ED1D-73CC-30EC-311070380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7062" y="5837687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1" name="Oval 890">
            <a:extLst>
              <a:ext uri="{FF2B5EF4-FFF2-40B4-BE49-F238E27FC236}">
                <a16:creationId xmlns:a16="http://schemas.microsoft.com/office/drawing/2014/main" id="{E69CD204-77B2-6E3E-5B2A-0D6B22D688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8259" y="5735729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2" name="Oval 891">
            <a:extLst>
              <a:ext uri="{FF2B5EF4-FFF2-40B4-BE49-F238E27FC236}">
                <a16:creationId xmlns:a16="http://schemas.microsoft.com/office/drawing/2014/main" id="{01FE6F41-755D-ECA6-DC2B-4EE1AD170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7307" y="5799812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07" name="Oval 1006">
            <a:extLst>
              <a:ext uri="{FF2B5EF4-FFF2-40B4-BE49-F238E27FC236}">
                <a16:creationId xmlns:a16="http://schemas.microsoft.com/office/drawing/2014/main" id="{6930ADB5-9B91-D714-EDC6-9015D8F555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6968" y="5831204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08" name="Oval 1007">
            <a:extLst>
              <a:ext uri="{FF2B5EF4-FFF2-40B4-BE49-F238E27FC236}">
                <a16:creationId xmlns:a16="http://schemas.microsoft.com/office/drawing/2014/main" id="{65372C86-7F71-8BD9-CBB2-4BA55F95D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98090" y="5729783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12" name="TextBox 1011">
            <a:extLst>
              <a:ext uri="{FF2B5EF4-FFF2-40B4-BE49-F238E27FC236}">
                <a16:creationId xmlns:a16="http://schemas.microsoft.com/office/drawing/2014/main" id="{77FDD4C6-5182-20B9-5A8E-5BAE9058CBDD}"/>
              </a:ext>
            </a:extLst>
          </p:cNvPr>
          <p:cNvSpPr txBox="1"/>
          <p:nvPr/>
        </p:nvSpPr>
        <p:spPr>
          <a:xfrm>
            <a:off x="51214" y="113335"/>
            <a:ext cx="72946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BJECTIVES OF THE PROJECT: 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F1E20F3-CF9D-7B91-E0E3-7EAADB4E936B}"/>
              </a:ext>
            </a:extLst>
          </p:cNvPr>
          <p:cNvSpPr/>
          <p:nvPr/>
        </p:nvSpPr>
        <p:spPr>
          <a:xfrm>
            <a:off x="5273335" y="6189439"/>
            <a:ext cx="723493" cy="657193"/>
          </a:xfrm>
          <a:prstGeom prst="ellipse">
            <a:avLst/>
          </a:prstGeom>
          <a:solidFill>
            <a:srgbClr val="0D616C"/>
          </a:solidFill>
          <a:ln w="3810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14">
            <a:extLst>
              <a:ext uri="{FF2B5EF4-FFF2-40B4-BE49-F238E27FC236}">
                <a16:creationId xmlns:a16="http://schemas.microsoft.com/office/drawing/2014/main" id="{95028C32-9625-687E-B85A-65086FBF8C62}"/>
              </a:ext>
            </a:extLst>
          </p:cNvPr>
          <p:cNvSpPr>
            <a:spLocks/>
          </p:cNvSpPr>
          <p:nvPr/>
        </p:nvSpPr>
        <p:spPr bwMode="auto">
          <a:xfrm>
            <a:off x="5555616" y="6449835"/>
            <a:ext cx="150813" cy="104412"/>
          </a:xfrm>
          <a:custGeom>
            <a:avLst/>
            <a:gdLst>
              <a:gd name="T0" fmla="*/ 95 w 95"/>
              <a:gd name="T1" fmla="*/ 0 h 67"/>
              <a:gd name="T2" fmla="*/ 24 w 95"/>
              <a:gd name="T3" fmla="*/ 67 h 67"/>
              <a:gd name="T4" fmla="*/ 0 w 95"/>
              <a:gd name="T5" fmla="*/ 4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5" h="67">
                <a:moveTo>
                  <a:pt x="95" y="0"/>
                </a:moveTo>
                <a:lnTo>
                  <a:pt x="24" y="67"/>
                </a:lnTo>
                <a:lnTo>
                  <a:pt x="0" y="43"/>
                </a:lnTo>
              </a:path>
            </a:pathLst>
          </a:cu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E136D9F-9210-1FFF-FFB0-AE765D6F8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8779" y="6331398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D0EF4B3-3660-A152-0BA5-1611F12CACEB}"/>
              </a:ext>
            </a:extLst>
          </p:cNvPr>
          <p:cNvSpPr/>
          <p:nvPr/>
        </p:nvSpPr>
        <p:spPr>
          <a:xfrm>
            <a:off x="7593270" y="2865275"/>
            <a:ext cx="259115" cy="2212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70B341C0-F8D0-7051-96FF-E51BF08551B0}"/>
              </a:ext>
            </a:extLst>
          </p:cNvPr>
          <p:cNvSpPr/>
          <p:nvPr/>
        </p:nvSpPr>
        <p:spPr>
          <a:xfrm rot="5400000">
            <a:off x="7565227" y="2781275"/>
            <a:ext cx="305717" cy="14127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/>
          </a:p>
        </p:txBody>
      </p:sp>
      <p:sp>
        <p:nvSpPr>
          <p:cNvPr id="994" name="TextBox 993">
            <a:extLst>
              <a:ext uri="{FF2B5EF4-FFF2-40B4-BE49-F238E27FC236}">
                <a16:creationId xmlns:a16="http://schemas.microsoft.com/office/drawing/2014/main" id="{C09F9F38-8DA8-C485-71CC-6FEC18D78275}"/>
              </a:ext>
            </a:extLst>
          </p:cNvPr>
          <p:cNvSpPr txBox="1"/>
          <p:nvPr/>
        </p:nvSpPr>
        <p:spPr>
          <a:xfrm>
            <a:off x="825990" y="699786"/>
            <a:ext cx="10494539" cy="1488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100" b="0" i="0" u="none" strike="noStrike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build a  portal for creating </a:t>
            </a:r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do</a:t>
            </a:r>
            <a:r>
              <a:rPr lang="en-US" sz="2100" b="0" i="0" u="none" strike="noStrike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2100" b="0" i="0" u="none" strike="noStrike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t where users can get their work done consistently and make their lives more productive and well organized.</a:t>
            </a:r>
            <a:endParaRPr lang="en-US" sz="2400" b="0" dirty="0">
              <a:effectLst/>
              <a:latin typeface="Consolas" panose="020B0609020204030204" pitchFamily="49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2100" b="0" i="0" u="none" strike="noStrike" baseline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783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D69F33F-6453-5B02-6DA5-5387D0EB65F9}"/>
              </a:ext>
            </a:extLst>
          </p:cNvPr>
          <p:cNvSpPr/>
          <p:nvPr/>
        </p:nvSpPr>
        <p:spPr>
          <a:xfrm>
            <a:off x="0" y="0"/>
            <a:ext cx="12192000" cy="1223493"/>
          </a:xfrm>
          <a:prstGeom prst="rect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5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ESENTATION LAYER:</a:t>
            </a:r>
            <a:endParaRPr lang="en-US" sz="35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8F7570-2B18-E8F8-EC46-CEF566EE6362}"/>
              </a:ext>
            </a:extLst>
          </p:cNvPr>
          <p:cNvSpPr txBox="1"/>
          <p:nvPr/>
        </p:nvSpPr>
        <p:spPr>
          <a:xfrm>
            <a:off x="4515439" y="1968758"/>
            <a:ext cx="7075547" cy="37418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portal provides ability to signup/login. Once user signup in  </a:t>
            </a:r>
          </a:p>
          <a:p>
            <a:pPr algn="just"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the portal, a JWT authorization is provided which generates a  </a:t>
            </a:r>
          </a:p>
          <a:p>
            <a:pPr algn="just"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JWT certifying user identity and Resource server decodes and  </a:t>
            </a:r>
          </a:p>
          <a:p>
            <a:pPr algn="just"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verifies the authenticity of the token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fter SignUp/SignIn we can add todos with the target date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View Todo  page, we can see the  details of all todos and we  </a:t>
            </a:r>
          </a:p>
          <a:p>
            <a:pPr algn="just"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can also update and delete the todo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04386D-2BFF-4C4D-A0E1-B7B8665289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532" y="1734531"/>
            <a:ext cx="2073897" cy="4598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65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275AE57-C7BC-8E18-C4B8-D298962F5613}"/>
              </a:ext>
            </a:extLst>
          </p:cNvPr>
          <p:cNvSpPr txBox="1"/>
          <p:nvPr/>
        </p:nvSpPr>
        <p:spPr>
          <a:xfrm>
            <a:off x="793265" y="1376055"/>
            <a:ext cx="10283230" cy="49229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en the user creates the new task, data of task and target will be date stored in the database.     </a:t>
            </a:r>
          </a:p>
          <a:p>
            <a:pPr algn="just">
              <a:lnSpc>
                <a:spcPct val="200000"/>
              </a:lnSpc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The task will be displayed in view todo page.</a:t>
            </a:r>
          </a:p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nce the todo is created, we can update, mark as competed and delete the data. Which will be  	  </a:t>
            </a:r>
          </a:p>
          <a:p>
            <a:pPr algn="just">
              <a:lnSpc>
                <a:spcPct val="200000"/>
              </a:lnSpc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concurrently updated in the database.</a:t>
            </a:r>
          </a:p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en we mark todo as completed the task colour will be changed into green and the task is </a:t>
            </a:r>
          </a:p>
          <a:p>
            <a:pPr algn="just">
              <a:lnSpc>
                <a:spcPct val="200000"/>
              </a:lnSpc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crossed out.</a:t>
            </a:r>
          </a:p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f user will not completes the  todo within target date , the </a:t>
            </a:r>
            <a:r>
              <a:rPr lang="en-IN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do</a:t>
            </a: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lour will be changed to red.</a:t>
            </a:r>
          </a:p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can check the status of their todo tasks at anytime, anywhere and can update  their task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A85BEB-DBBB-B7F0-AF64-E88D3F15CAB9}"/>
              </a:ext>
            </a:extLst>
          </p:cNvPr>
          <p:cNvSpPr/>
          <p:nvPr/>
        </p:nvSpPr>
        <p:spPr>
          <a:xfrm>
            <a:off x="0" y="0"/>
            <a:ext cx="12192000" cy="15294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7BE1E5-2FCB-59BE-0DCB-A3996D3621D2}"/>
              </a:ext>
            </a:extLst>
          </p:cNvPr>
          <p:cNvSpPr txBox="1"/>
          <p:nvPr/>
        </p:nvSpPr>
        <p:spPr>
          <a:xfrm>
            <a:off x="2781849" y="449235"/>
            <a:ext cx="588645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5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SINESS LOGIC LAYER</a:t>
            </a:r>
            <a:endParaRPr lang="en-US" sz="35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4DAEBD-F891-784A-058B-5BD9E4BD987A}"/>
              </a:ext>
            </a:extLst>
          </p:cNvPr>
          <p:cNvGrpSpPr/>
          <p:nvPr/>
        </p:nvGrpSpPr>
        <p:grpSpPr>
          <a:xfrm rot="10800000">
            <a:off x="0" y="-707924"/>
            <a:ext cx="12192000" cy="3319301"/>
            <a:chOff x="0" y="4948862"/>
            <a:chExt cx="12192000" cy="2402719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C50B7A7-6975-2693-8157-FB3416CAB1F3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3837881-CE36-A221-9291-A771EBA3B8A4}"/>
                </a:ext>
              </a:extLst>
            </p:cNvPr>
            <p:cNvSpPr/>
            <p:nvPr/>
          </p:nvSpPr>
          <p:spPr>
            <a:xfrm>
              <a:off x="0" y="6057434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11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6F39725-A9CD-D126-0601-7E83F30F179F}"/>
              </a:ext>
            </a:extLst>
          </p:cNvPr>
          <p:cNvSpPr txBox="1"/>
          <p:nvPr/>
        </p:nvSpPr>
        <p:spPr>
          <a:xfrm>
            <a:off x="4037525" y="742478"/>
            <a:ext cx="320040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5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TA  LAYER</a:t>
            </a:r>
            <a:endParaRPr lang="en-US" sz="3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1F5FE1-0C52-B78C-C8C7-FD3276546053}"/>
              </a:ext>
            </a:extLst>
          </p:cNvPr>
          <p:cNvSpPr txBox="1"/>
          <p:nvPr/>
        </p:nvSpPr>
        <p:spPr>
          <a:xfrm>
            <a:off x="795268" y="1858966"/>
            <a:ext cx="9923007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email Id  &amp; password is stored in a User_table in the  database.</a:t>
            </a:r>
          </a:p>
          <a:p>
            <a:pPr algn="just">
              <a:buFont typeface="Wingdings" panose="05000000000000000000" pitchFamily="2" charset="2"/>
              <a:buChar char="Ø"/>
            </a:pP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todo task, target date , status of the task is stored in another Todo_table in </a:t>
            </a:r>
          </a:p>
          <a:p>
            <a:pPr algn="just"/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the database.</a:t>
            </a:r>
          </a:p>
          <a:p>
            <a:pPr algn="just">
              <a:buFont typeface="Wingdings" panose="05000000000000000000" pitchFamily="2" charset="2"/>
              <a:buChar char="Ø"/>
            </a:pP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ssword is saving in encrypted form so that the user privacy and security is safe  </a:t>
            </a:r>
          </a:p>
          <a:p>
            <a:pPr algn="just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using Password Encoder.</a:t>
            </a: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f task is completed it return 1 in the table, if task not completed it returns 0.</a:t>
            </a:r>
          </a:p>
          <a:p>
            <a:pPr>
              <a:buFont typeface="Wingdings" panose="05000000000000000000" pitchFamily="2" charset="2"/>
              <a:buChar char="Ø"/>
            </a:pP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55F6AC-65D6-4458-BCAB-3CB76511F748}"/>
              </a:ext>
            </a:extLst>
          </p:cNvPr>
          <p:cNvSpPr/>
          <p:nvPr/>
        </p:nvSpPr>
        <p:spPr>
          <a:xfrm>
            <a:off x="0" y="7328"/>
            <a:ext cx="12192000" cy="152941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25C188-6CDD-4FF9-AB84-AFA478C26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934" y="489396"/>
            <a:ext cx="11136086" cy="667294"/>
          </a:xfrm>
        </p:spPr>
        <p:txBody>
          <a:bodyPr>
            <a:normAutofit/>
          </a:bodyPr>
          <a:lstStyle/>
          <a:p>
            <a:pPr algn="ctr"/>
            <a:r>
              <a:rPr lang="en-US" sz="35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OUNDARY CONDITIONS</a:t>
            </a:r>
            <a:endParaRPr lang="en-ID" sz="35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F23EF6-01C2-4BA7-9DEA-254C1B370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571" y="6345822"/>
            <a:ext cx="415472" cy="375653"/>
          </a:xfrm>
        </p:spPr>
        <p:txBody>
          <a:bodyPr/>
          <a:lstStyle/>
          <a:p>
            <a:fld id="{16DD451E-2FAD-41AD-BDC0-8D1DCE3571CD}" type="slidenum">
              <a:rPr lang="en-ID" smtClean="0"/>
              <a:t>6</a:t>
            </a:fld>
            <a:endParaRPr lang="en-ID"/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01955CFD-CBB5-455D-A87B-55E3811C2CD1}"/>
              </a:ext>
            </a:extLst>
          </p:cNvPr>
          <p:cNvSpPr/>
          <p:nvPr/>
        </p:nvSpPr>
        <p:spPr>
          <a:xfrm>
            <a:off x="810506" y="2516635"/>
            <a:ext cx="1038691" cy="481300"/>
          </a:xfrm>
          <a:prstGeom prst="round2SameRect">
            <a:avLst>
              <a:gd name="adj1" fmla="val 19318"/>
              <a:gd name="adj2" fmla="val 0"/>
            </a:avLst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#1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B46CA4D-F0E7-497C-B11A-AD6B6EFD720B}"/>
              </a:ext>
            </a:extLst>
          </p:cNvPr>
          <p:cNvSpPr txBox="1">
            <a:spLocks/>
          </p:cNvSpPr>
          <p:nvPr/>
        </p:nvSpPr>
        <p:spPr>
          <a:xfrm>
            <a:off x="2055463" y="2613117"/>
            <a:ext cx="6690528" cy="36244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ach user will have the ability to create 20 Todo tasks.</a:t>
            </a:r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5DC0A808-3B65-BB28-7482-600FF8465D9D}"/>
              </a:ext>
            </a:extLst>
          </p:cNvPr>
          <p:cNvSpPr/>
          <p:nvPr/>
        </p:nvSpPr>
        <p:spPr>
          <a:xfrm>
            <a:off x="810506" y="3561641"/>
            <a:ext cx="1038691" cy="481300"/>
          </a:xfrm>
          <a:prstGeom prst="round2SameRect">
            <a:avLst>
              <a:gd name="adj1" fmla="val 19318"/>
              <a:gd name="adj2" fmla="val 0"/>
            </a:avLst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#2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C28F28-CBEA-9419-CE99-7171342C77E1}"/>
              </a:ext>
            </a:extLst>
          </p:cNvPr>
          <p:cNvGrpSpPr/>
          <p:nvPr/>
        </p:nvGrpSpPr>
        <p:grpSpPr>
          <a:xfrm>
            <a:off x="810506" y="2617635"/>
            <a:ext cx="343502" cy="353407"/>
            <a:chOff x="3225338" y="3574473"/>
            <a:chExt cx="415637" cy="415637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23225AC-9860-636A-0D23-DF5E7368BE6C}"/>
                </a:ext>
              </a:extLst>
            </p:cNvPr>
            <p:cNvSpPr/>
            <p:nvPr/>
          </p:nvSpPr>
          <p:spPr>
            <a:xfrm>
              <a:off x="3225338" y="3574473"/>
              <a:ext cx="415637" cy="41563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D88D2F88-9D81-F0C9-8F81-7BE257CB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588" y="3691140"/>
              <a:ext cx="211137" cy="182303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3E9179F-AFA0-2D22-2884-7A39D5DD0B75}"/>
              </a:ext>
            </a:extLst>
          </p:cNvPr>
          <p:cNvGrpSpPr/>
          <p:nvPr/>
        </p:nvGrpSpPr>
        <p:grpSpPr>
          <a:xfrm>
            <a:off x="810506" y="3628827"/>
            <a:ext cx="343502" cy="353407"/>
            <a:chOff x="3225338" y="3574473"/>
            <a:chExt cx="415637" cy="415637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20F0DF4-9900-9814-FEBC-6334E30E6BEF}"/>
                </a:ext>
              </a:extLst>
            </p:cNvPr>
            <p:cNvSpPr/>
            <p:nvPr/>
          </p:nvSpPr>
          <p:spPr>
            <a:xfrm>
              <a:off x="3225338" y="3574473"/>
              <a:ext cx="415637" cy="41563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E8F278C-10BC-517E-F4F8-7884E4E70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588" y="3691140"/>
              <a:ext cx="211137" cy="182303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3FC6979-091E-BA24-B565-5DEC21608210}"/>
              </a:ext>
            </a:extLst>
          </p:cNvPr>
          <p:cNvSpPr txBox="1">
            <a:spLocks/>
          </p:cNvSpPr>
          <p:nvPr/>
        </p:nvSpPr>
        <p:spPr>
          <a:xfrm>
            <a:off x="1933701" y="3588230"/>
            <a:ext cx="7731569" cy="70092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Email ID  should be in valid email format and Password should be     </a:t>
            </a:r>
          </a:p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more than 8 alpha-numeric characters.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11577D59-CB38-6C6B-78B9-EAA2C1C522AD}"/>
              </a:ext>
            </a:extLst>
          </p:cNvPr>
          <p:cNvSpPr/>
          <p:nvPr/>
        </p:nvSpPr>
        <p:spPr>
          <a:xfrm>
            <a:off x="810505" y="4695778"/>
            <a:ext cx="1038691" cy="481300"/>
          </a:xfrm>
          <a:prstGeom prst="round2SameRect">
            <a:avLst>
              <a:gd name="adj1" fmla="val 19318"/>
              <a:gd name="adj2" fmla="val 0"/>
            </a:avLst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#3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C00EEF4-F1C8-1D02-9F6C-F65CA5B0DB09}"/>
              </a:ext>
            </a:extLst>
          </p:cNvPr>
          <p:cNvGrpSpPr/>
          <p:nvPr/>
        </p:nvGrpSpPr>
        <p:grpSpPr>
          <a:xfrm>
            <a:off x="844847" y="4759725"/>
            <a:ext cx="343502" cy="353407"/>
            <a:chOff x="3225338" y="3574473"/>
            <a:chExt cx="415637" cy="415637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8AC6065-EB1F-7D20-9721-C7A6F1B80392}"/>
                </a:ext>
              </a:extLst>
            </p:cNvPr>
            <p:cNvSpPr/>
            <p:nvPr/>
          </p:nvSpPr>
          <p:spPr>
            <a:xfrm>
              <a:off x="3225338" y="3574473"/>
              <a:ext cx="415637" cy="41563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DAEE754E-013D-CE39-869D-C6E189D0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588" y="3691140"/>
              <a:ext cx="211137" cy="182303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37BF98C-2F1A-59FD-C954-F9A7A46DEACC}"/>
              </a:ext>
            </a:extLst>
          </p:cNvPr>
          <p:cNvSpPr txBox="1">
            <a:spLocks/>
          </p:cNvSpPr>
          <p:nvPr/>
        </p:nvSpPr>
        <p:spPr>
          <a:xfrm>
            <a:off x="2055463" y="4529833"/>
            <a:ext cx="8454934" cy="82665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 cannot register multiple times with same email id.</a:t>
            </a:r>
          </a:p>
        </p:txBody>
      </p:sp>
    </p:spTree>
    <p:extLst>
      <p:ext uri="{BB962C8B-B14F-4D97-AF65-F5344CB8AC3E}">
        <p14:creationId xmlns:p14="http://schemas.microsoft.com/office/powerpoint/2010/main" val="30605944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E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F1BFB55-DDC8-4C10-BB24-3A657F3C3BCE}"/>
              </a:ext>
            </a:extLst>
          </p:cNvPr>
          <p:cNvSpPr/>
          <p:nvPr/>
        </p:nvSpPr>
        <p:spPr>
          <a:xfrm>
            <a:off x="482373" y="2183945"/>
            <a:ext cx="3657364" cy="3471601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7</a:t>
            </a:fld>
            <a:endParaRPr lang="en-ID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F53C56E9-1639-4D61-B1D3-D573DA2A415B}"/>
              </a:ext>
            </a:extLst>
          </p:cNvPr>
          <p:cNvSpPr/>
          <p:nvPr/>
        </p:nvSpPr>
        <p:spPr>
          <a:xfrm>
            <a:off x="482374" y="1730933"/>
            <a:ext cx="3651508" cy="566835"/>
          </a:xfrm>
          <a:prstGeom prst="round2SameRect">
            <a:avLst/>
          </a:prstGeom>
          <a:solidFill>
            <a:srgbClr val="287192"/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ring Boot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EEF62F9-A938-40BB-9CF5-B8D0940B0249}"/>
              </a:ext>
            </a:extLst>
          </p:cNvPr>
          <p:cNvSpPr/>
          <p:nvPr/>
        </p:nvSpPr>
        <p:spPr>
          <a:xfrm>
            <a:off x="4323579" y="2204934"/>
            <a:ext cx="3550287" cy="3443023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3" name="Rectangle: Top Corners Rounded 22">
            <a:extLst>
              <a:ext uri="{FF2B5EF4-FFF2-40B4-BE49-F238E27FC236}">
                <a16:creationId xmlns:a16="http://schemas.microsoft.com/office/drawing/2014/main" id="{D89CA40A-1DC4-4BA8-AECC-E13D8E1380ED}"/>
              </a:ext>
            </a:extLst>
          </p:cNvPr>
          <p:cNvSpPr/>
          <p:nvPr/>
        </p:nvSpPr>
        <p:spPr>
          <a:xfrm>
            <a:off x="4323579" y="1730934"/>
            <a:ext cx="3550285" cy="546712"/>
          </a:xfrm>
          <a:prstGeom prst="round2SameRect">
            <a:avLst/>
          </a:prstGeom>
          <a:solidFill>
            <a:srgbClr val="287192"/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YSQL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4EEFE28-18FF-46F9-A605-9471AA09E165}"/>
              </a:ext>
            </a:extLst>
          </p:cNvPr>
          <p:cNvSpPr/>
          <p:nvPr/>
        </p:nvSpPr>
        <p:spPr>
          <a:xfrm>
            <a:off x="8113756" y="2033664"/>
            <a:ext cx="3550287" cy="3621881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FC49BED0-ECFB-4A1D-83D7-E92BDBD16378}"/>
              </a:ext>
            </a:extLst>
          </p:cNvPr>
          <p:cNvSpPr/>
          <p:nvPr/>
        </p:nvSpPr>
        <p:spPr>
          <a:xfrm>
            <a:off x="8113756" y="1730934"/>
            <a:ext cx="3550285" cy="566834"/>
          </a:xfrm>
          <a:prstGeom prst="round2SameRect">
            <a:avLst/>
          </a:prstGeom>
          <a:solidFill>
            <a:srgbClr val="287192"/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CT J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7909F09-E757-4F48-A873-FCD0A59E6157}"/>
              </a:ext>
            </a:extLst>
          </p:cNvPr>
          <p:cNvSpPr txBox="1">
            <a:spLocks/>
          </p:cNvSpPr>
          <p:nvPr/>
        </p:nvSpPr>
        <p:spPr>
          <a:xfrm>
            <a:off x="624516" y="2343803"/>
            <a:ext cx="3370986" cy="31941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VERSION: 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3.5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8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s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US" sz="180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 make it easier for faster and more efficient development ecosystem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150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bedded server to avoid complexity in application deployment</a:t>
            </a:r>
          </a:p>
          <a:p>
            <a:br>
              <a:rPr lang="en-US" sz="3200" dirty="0"/>
            </a:b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4CF9A9D-CF66-4A91-A8BB-0924D3462543}"/>
              </a:ext>
            </a:extLst>
          </p:cNvPr>
          <p:cNvSpPr/>
          <p:nvPr/>
        </p:nvSpPr>
        <p:spPr>
          <a:xfrm>
            <a:off x="7476480" y="1611022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7F0C9D-20F2-418B-9D7A-C89BEB462708}"/>
              </a:ext>
            </a:extLst>
          </p:cNvPr>
          <p:cNvSpPr/>
          <p:nvPr/>
        </p:nvSpPr>
        <p:spPr>
          <a:xfrm>
            <a:off x="11295642" y="1611022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8CB2EA1-1EEC-474B-9BD0-BD35DE59EDD7}"/>
              </a:ext>
            </a:extLst>
          </p:cNvPr>
          <p:cNvSpPr txBox="1">
            <a:spLocks/>
          </p:cNvSpPr>
          <p:nvPr/>
        </p:nvSpPr>
        <p:spPr>
          <a:xfrm>
            <a:off x="4404575" y="2347095"/>
            <a:ext cx="3304674" cy="330086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VERSION: 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.0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5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son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 is an open-source and freely available database system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1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ySQL is </a:t>
            </a:r>
            <a:r>
              <a:rPr lang="en-US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p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atform independent. i.e. compatible to use on any platforms.</a:t>
            </a:r>
            <a:endParaRPr lang="en-US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EB6A5E5-1B49-4B60-8FB1-4F1DA4997E5F}"/>
              </a:ext>
            </a:extLst>
          </p:cNvPr>
          <p:cNvSpPr txBox="1">
            <a:spLocks/>
          </p:cNvSpPr>
          <p:nvPr/>
        </p:nvSpPr>
        <p:spPr>
          <a:xfrm>
            <a:off x="8267800" y="2327931"/>
            <a:ext cx="3242196" cy="32099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VERSION: </a:t>
            </a:r>
            <a:r>
              <a:rPr lang="en-US" sz="16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7.0.1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son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act is the open-source JavaScript library to build web applications.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US" sz="1800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ne of the main benefit of using React JS is its potential to reuse components.</a:t>
            </a:r>
            <a:endParaRPr lang="en-US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4E9073-B5A7-0A89-FF78-DAF64CDFD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9521" y="308910"/>
            <a:ext cx="5289790" cy="769585"/>
          </a:xfrm>
        </p:spPr>
        <p:txBody>
          <a:bodyPr>
            <a:noAutofit/>
          </a:bodyPr>
          <a:lstStyle/>
          <a:p>
            <a:r>
              <a:rPr lang="en-US" sz="35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CHNOLOGIES USED</a:t>
            </a:r>
            <a:endParaRPr lang="en-US" sz="35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CDEDD46-095D-0376-68B2-1F586D315587}"/>
              </a:ext>
            </a:extLst>
          </p:cNvPr>
          <p:cNvGrpSpPr/>
          <p:nvPr/>
        </p:nvGrpSpPr>
        <p:grpSpPr>
          <a:xfrm>
            <a:off x="538791" y="1821997"/>
            <a:ext cx="346075" cy="346075"/>
            <a:chOff x="7726363" y="3255963"/>
            <a:chExt cx="346075" cy="346075"/>
          </a:xfrm>
        </p:grpSpPr>
        <p:sp>
          <p:nvSpPr>
            <p:cNvPr id="7" name="Freeform 120">
              <a:extLst>
                <a:ext uri="{FF2B5EF4-FFF2-40B4-BE49-F238E27FC236}">
                  <a16:creationId xmlns:a16="http://schemas.microsoft.com/office/drawing/2014/main" id="{552DB3EC-D1BA-D001-9B1C-69860CFA9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Line 121">
              <a:extLst>
                <a:ext uri="{FF2B5EF4-FFF2-40B4-BE49-F238E27FC236}">
                  <a16:creationId xmlns:a16="http://schemas.microsoft.com/office/drawing/2014/main" id="{70843C37-A2D3-C69B-D610-A8C241C2D3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122">
              <a:extLst>
                <a:ext uri="{FF2B5EF4-FFF2-40B4-BE49-F238E27FC236}">
                  <a16:creationId xmlns:a16="http://schemas.microsoft.com/office/drawing/2014/main" id="{E51FD50A-A9BF-F989-4859-7C6A51EDA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123">
              <a:extLst>
                <a:ext uri="{FF2B5EF4-FFF2-40B4-BE49-F238E27FC236}">
                  <a16:creationId xmlns:a16="http://schemas.microsoft.com/office/drawing/2014/main" id="{2493C913-66E6-6211-0F2F-FBD40983DF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24">
              <a:extLst>
                <a:ext uri="{FF2B5EF4-FFF2-40B4-BE49-F238E27FC236}">
                  <a16:creationId xmlns:a16="http://schemas.microsoft.com/office/drawing/2014/main" id="{6D8D10EB-FA04-8DD4-A398-839A37D2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9F11D4B-7D9F-794B-109F-AEABC72ABF19}"/>
              </a:ext>
            </a:extLst>
          </p:cNvPr>
          <p:cNvGrpSpPr/>
          <p:nvPr/>
        </p:nvGrpSpPr>
        <p:grpSpPr>
          <a:xfrm>
            <a:off x="4362103" y="1819573"/>
            <a:ext cx="346075" cy="346075"/>
            <a:chOff x="7726363" y="3255963"/>
            <a:chExt cx="346075" cy="346075"/>
          </a:xfrm>
        </p:grpSpPr>
        <p:sp>
          <p:nvSpPr>
            <p:cNvPr id="15" name="Freeform 120">
              <a:extLst>
                <a:ext uri="{FF2B5EF4-FFF2-40B4-BE49-F238E27FC236}">
                  <a16:creationId xmlns:a16="http://schemas.microsoft.com/office/drawing/2014/main" id="{94600596-753F-4E10-FC8C-2A39550BF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21">
              <a:extLst>
                <a:ext uri="{FF2B5EF4-FFF2-40B4-BE49-F238E27FC236}">
                  <a16:creationId xmlns:a16="http://schemas.microsoft.com/office/drawing/2014/main" id="{E21B7445-4CFC-0252-ED53-BDEF9161E0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22">
              <a:extLst>
                <a:ext uri="{FF2B5EF4-FFF2-40B4-BE49-F238E27FC236}">
                  <a16:creationId xmlns:a16="http://schemas.microsoft.com/office/drawing/2014/main" id="{7C3B194B-7E80-0EC6-E1E6-49270E1D70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Line 123">
              <a:extLst>
                <a:ext uri="{FF2B5EF4-FFF2-40B4-BE49-F238E27FC236}">
                  <a16:creationId xmlns:a16="http://schemas.microsoft.com/office/drawing/2014/main" id="{58CB29D5-2B78-F1A1-ADAB-82DCDBE078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24">
              <a:extLst>
                <a:ext uri="{FF2B5EF4-FFF2-40B4-BE49-F238E27FC236}">
                  <a16:creationId xmlns:a16="http://schemas.microsoft.com/office/drawing/2014/main" id="{CABF689E-E1EC-684A-8415-D840CD417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A467C01-F27F-3D05-D804-CFDC7D690402}"/>
              </a:ext>
            </a:extLst>
          </p:cNvPr>
          <p:cNvGrpSpPr/>
          <p:nvPr/>
        </p:nvGrpSpPr>
        <p:grpSpPr>
          <a:xfrm>
            <a:off x="8209311" y="1881255"/>
            <a:ext cx="346075" cy="346075"/>
            <a:chOff x="7726363" y="3255963"/>
            <a:chExt cx="346075" cy="346075"/>
          </a:xfrm>
        </p:grpSpPr>
        <p:sp>
          <p:nvSpPr>
            <p:cNvPr id="30" name="Freeform 120">
              <a:extLst>
                <a:ext uri="{FF2B5EF4-FFF2-40B4-BE49-F238E27FC236}">
                  <a16:creationId xmlns:a16="http://schemas.microsoft.com/office/drawing/2014/main" id="{0873C0EF-BC51-15BC-0187-531350617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21">
              <a:extLst>
                <a:ext uri="{FF2B5EF4-FFF2-40B4-BE49-F238E27FC236}">
                  <a16:creationId xmlns:a16="http://schemas.microsoft.com/office/drawing/2014/main" id="{5E7DD83F-FD85-C5BC-A90B-80BA197254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22">
              <a:extLst>
                <a:ext uri="{FF2B5EF4-FFF2-40B4-BE49-F238E27FC236}">
                  <a16:creationId xmlns:a16="http://schemas.microsoft.com/office/drawing/2014/main" id="{1EA5A6E7-F8DD-8871-372A-0A9A8E8AC2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123">
              <a:extLst>
                <a:ext uri="{FF2B5EF4-FFF2-40B4-BE49-F238E27FC236}">
                  <a16:creationId xmlns:a16="http://schemas.microsoft.com/office/drawing/2014/main" id="{439AE206-EAF6-CDF8-EB77-AEBCF9FDC6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124">
              <a:extLst>
                <a:ext uri="{FF2B5EF4-FFF2-40B4-BE49-F238E27FC236}">
                  <a16:creationId xmlns:a16="http://schemas.microsoft.com/office/drawing/2014/main" id="{DF2E27BE-0F83-D65F-7D20-2931A7959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73" name="Oval 372">
            <a:extLst>
              <a:ext uri="{FF2B5EF4-FFF2-40B4-BE49-F238E27FC236}">
                <a16:creationId xmlns:a16="http://schemas.microsoft.com/office/drawing/2014/main" id="{1B3432BB-EAE3-48AC-CF63-F209C32E730C}"/>
              </a:ext>
            </a:extLst>
          </p:cNvPr>
          <p:cNvSpPr/>
          <p:nvPr/>
        </p:nvSpPr>
        <p:spPr>
          <a:xfrm>
            <a:off x="7483824" y="1792457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2C04FAC0-BFA3-03E7-F1F7-04E4FF0370F7}"/>
              </a:ext>
            </a:extLst>
          </p:cNvPr>
          <p:cNvSpPr/>
          <p:nvPr/>
        </p:nvSpPr>
        <p:spPr>
          <a:xfrm>
            <a:off x="11294481" y="1829376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5" name="Rectangle: Rounded Corners 374">
            <a:extLst>
              <a:ext uri="{FF2B5EF4-FFF2-40B4-BE49-F238E27FC236}">
                <a16:creationId xmlns:a16="http://schemas.microsoft.com/office/drawing/2014/main" id="{73A692A5-58F7-B4DD-429A-C9E6352E8FC6}"/>
              </a:ext>
            </a:extLst>
          </p:cNvPr>
          <p:cNvSpPr/>
          <p:nvPr/>
        </p:nvSpPr>
        <p:spPr>
          <a:xfrm rot="5400000">
            <a:off x="11195211" y="1715748"/>
            <a:ext cx="423965" cy="141274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6" name="Rectangle: Rounded Corners 375">
            <a:extLst>
              <a:ext uri="{FF2B5EF4-FFF2-40B4-BE49-F238E27FC236}">
                <a16:creationId xmlns:a16="http://schemas.microsoft.com/office/drawing/2014/main" id="{7F4A636D-3053-03B6-1E05-348838AF0B34}"/>
              </a:ext>
            </a:extLst>
          </p:cNvPr>
          <p:cNvSpPr/>
          <p:nvPr/>
        </p:nvSpPr>
        <p:spPr>
          <a:xfrm rot="5400000">
            <a:off x="7379838" y="1675860"/>
            <a:ext cx="423965" cy="141274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8241991-1FE5-F112-7B27-648541414177}"/>
              </a:ext>
            </a:extLst>
          </p:cNvPr>
          <p:cNvSpPr/>
          <p:nvPr/>
        </p:nvSpPr>
        <p:spPr>
          <a:xfrm rot="5400000">
            <a:off x="7379838" y="1675862"/>
            <a:ext cx="423965" cy="141274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B211D45-1507-31D6-A404-0F837A42B0E9}"/>
              </a:ext>
            </a:extLst>
          </p:cNvPr>
          <p:cNvSpPr/>
          <p:nvPr/>
        </p:nvSpPr>
        <p:spPr>
          <a:xfrm>
            <a:off x="3829607" y="1634632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A974ACC-3736-BF1E-D16B-3E5849F41B25}"/>
              </a:ext>
            </a:extLst>
          </p:cNvPr>
          <p:cNvSpPr/>
          <p:nvPr/>
        </p:nvSpPr>
        <p:spPr>
          <a:xfrm>
            <a:off x="3836951" y="1816067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B2CCA91-0CD6-DCE7-5CD8-DBBAAE2838DE}"/>
              </a:ext>
            </a:extLst>
          </p:cNvPr>
          <p:cNvSpPr/>
          <p:nvPr/>
        </p:nvSpPr>
        <p:spPr>
          <a:xfrm rot="5400000">
            <a:off x="3732965" y="1699472"/>
            <a:ext cx="423965" cy="141274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93957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47F05D48-E94C-49BE-86F9-341BC7E29233}"/>
              </a:ext>
            </a:extLst>
          </p:cNvPr>
          <p:cNvSpPr/>
          <p:nvPr/>
        </p:nvSpPr>
        <p:spPr>
          <a:xfrm rot="10800000">
            <a:off x="8630327" y="23497"/>
            <a:ext cx="3581455" cy="6858000"/>
          </a:xfrm>
          <a:custGeom>
            <a:avLst/>
            <a:gdLst>
              <a:gd name="connsiteX0" fmla="*/ 0 w 5678148"/>
              <a:gd name="connsiteY0" fmla="*/ 0 h 6858000"/>
              <a:gd name="connsiteX1" fmla="*/ 4939104 w 5678148"/>
              <a:gd name="connsiteY1" fmla="*/ 0 h 6858000"/>
              <a:gd name="connsiteX2" fmla="*/ 4949387 w 5678148"/>
              <a:gd name="connsiteY2" fmla="*/ 127373 h 6858000"/>
              <a:gd name="connsiteX3" fmla="*/ 5669282 w 5678148"/>
              <a:gd name="connsiteY3" fmla="*/ 3374967 h 6858000"/>
              <a:gd name="connsiteX4" fmla="*/ 4322620 w 5678148"/>
              <a:gd name="connsiteY4" fmla="*/ 5735782 h 6858000"/>
              <a:gd name="connsiteX5" fmla="*/ 2483819 w 5678148"/>
              <a:gd name="connsiteY5" fmla="*/ 6800721 h 6858000"/>
              <a:gd name="connsiteX6" fmla="*/ 2329864 w 5678148"/>
              <a:gd name="connsiteY6" fmla="*/ 6858000 h 6858000"/>
              <a:gd name="connsiteX7" fmla="*/ 0 w 5678148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78148" h="6858000">
                <a:moveTo>
                  <a:pt x="0" y="0"/>
                </a:moveTo>
                <a:lnTo>
                  <a:pt x="4939104" y="0"/>
                </a:lnTo>
                <a:lnTo>
                  <a:pt x="4949387" y="127373"/>
                </a:lnTo>
                <a:cubicBezTo>
                  <a:pt x="5050536" y="902743"/>
                  <a:pt x="5765398" y="2476154"/>
                  <a:pt x="5669282" y="3374967"/>
                </a:cubicBezTo>
                <a:cubicBezTo>
                  <a:pt x="5566758" y="4333701"/>
                  <a:pt x="4954387" y="5128953"/>
                  <a:pt x="4322620" y="5735782"/>
                </a:cubicBezTo>
                <a:cubicBezTo>
                  <a:pt x="3848795" y="6190904"/>
                  <a:pt x="3127146" y="6549391"/>
                  <a:pt x="2483819" y="6800721"/>
                </a:cubicBezTo>
                <a:lnTo>
                  <a:pt x="232986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r"/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BF3E1-EBC5-4F0B-801E-3B7D1CBFB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602" y="568560"/>
            <a:ext cx="11136086" cy="970189"/>
          </a:xfrm>
        </p:spPr>
        <p:txBody>
          <a:bodyPr>
            <a:normAutofit/>
          </a:bodyPr>
          <a:lstStyle/>
          <a:p>
            <a:r>
              <a:rPr lang="en-ID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E FEATURE WANT TO HIGHLIGHT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D4638-71B0-428D-B434-D1D6B2BC2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8</a:t>
            </a:fld>
            <a:endParaRPr lang="en-ID"/>
          </a:p>
        </p:txBody>
      </p:sp>
      <p:grpSp>
        <p:nvGrpSpPr>
          <p:cNvPr id="172" name="Group 4">
            <a:extLst>
              <a:ext uri="{FF2B5EF4-FFF2-40B4-BE49-F238E27FC236}">
                <a16:creationId xmlns:a16="http://schemas.microsoft.com/office/drawing/2014/main" id="{61507514-5D9A-4EF8-A9BF-9A5F667A47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76765" y="3951969"/>
            <a:ext cx="3562406" cy="2944131"/>
            <a:chOff x="1823" y="373"/>
            <a:chExt cx="4006" cy="3596"/>
          </a:xfrm>
        </p:grpSpPr>
        <p:sp>
          <p:nvSpPr>
            <p:cNvPr id="174" name="Freeform 5">
              <a:extLst>
                <a:ext uri="{FF2B5EF4-FFF2-40B4-BE49-F238E27FC236}">
                  <a16:creationId xmlns:a16="http://schemas.microsoft.com/office/drawing/2014/main" id="{B790673C-8F4B-40D4-8182-49C95B378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9" y="2392"/>
              <a:ext cx="1000" cy="1475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5" name="Freeform 6">
              <a:extLst>
                <a:ext uri="{FF2B5EF4-FFF2-40B4-BE49-F238E27FC236}">
                  <a16:creationId xmlns:a16="http://schemas.microsoft.com/office/drawing/2014/main" id="{17B06721-5017-4E1E-9C0B-745BC96EC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" y="2420"/>
              <a:ext cx="404" cy="1283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6" name="Freeform 7">
              <a:extLst>
                <a:ext uri="{FF2B5EF4-FFF2-40B4-BE49-F238E27FC236}">
                  <a16:creationId xmlns:a16="http://schemas.microsoft.com/office/drawing/2014/main" id="{AB10C946-5191-4839-8BEE-DBA187308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" y="2743"/>
              <a:ext cx="150" cy="385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C7122798-AFC2-49C7-B7EA-6EC046809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8" y="2931"/>
              <a:ext cx="447" cy="197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1D17AD44-0638-40CD-B16F-493E61B48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5" y="3154"/>
              <a:ext cx="375" cy="539"/>
            </a:xfrm>
            <a:custGeom>
              <a:avLst/>
              <a:gdLst>
                <a:gd name="T0" fmla="*/ 158 w 158"/>
                <a:gd name="T1" fmla="*/ 227 h 227"/>
                <a:gd name="T2" fmla="*/ 156 w 158"/>
                <a:gd name="T3" fmla="*/ 225 h 227"/>
                <a:gd name="T4" fmla="*/ 151 w 158"/>
                <a:gd name="T5" fmla="*/ 218 h 227"/>
                <a:gd name="T6" fmla="*/ 133 w 158"/>
                <a:gd name="T7" fmla="*/ 195 h 227"/>
                <a:gd name="T8" fmla="*/ 78 w 158"/>
                <a:gd name="T9" fmla="*/ 114 h 227"/>
                <a:gd name="T10" fmla="*/ 23 w 158"/>
                <a:gd name="T11" fmla="*/ 33 h 227"/>
                <a:gd name="T12" fmla="*/ 6 w 158"/>
                <a:gd name="T13" fmla="*/ 9 h 227"/>
                <a:gd name="T14" fmla="*/ 1 w 158"/>
                <a:gd name="T15" fmla="*/ 3 h 227"/>
                <a:gd name="T16" fmla="*/ 0 w 158"/>
                <a:gd name="T17" fmla="*/ 0 h 227"/>
                <a:gd name="T18" fmla="*/ 2 w 158"/>
                <a:gd name="T19" fmla="*/ 2 h 227"/>
                <a:gd name="T20" fmla="*/ 7 w 158"/>
                <a:gd name="T21" fmla="*/ 8 h 227"/>
                <a:gd name="T22" fmla="*/ 24 w 158"/>
                <a:gd name="T23" fmla="*/ 32 h 227"/>
                <a:gd name="T24" fmla="*/ 80 w 158"/>
                <a:gd name="T25" fmla="*/ 113 h 227"/>
                <a:gd name="T26" fmla="*/ 135 w 158"/>
                <a:gd name="T27" fmla="*/ 194 h 227"/>
                <a:gd name="T28" fmla="*/ 152 w 158"/>
                <a:gd name="T29" fmla="*/ 218 h 227"/>
                <a:gd name="T30" fmla="*/ 156 w 158"/>
                <a:gd name="T31" fmla="*/ 224 h 227"/>
                <a:gd name="T32" fmla="*/ 158 w 158"/>
                <a:gd name="T33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27">
                  <a:moveTo>
                    <a:pt x="158" y="227"/>
                  </a:moveTo>
                  <a:cubicBezTo>
                    <a:pt x="158" y="227"/>
                    <a:pt x="157" y="226"/>
                    <a:pt x="156" y="225"/>
                  </a:cubicBezTo>
                  <a:cubicBezTo>
                    <a:pt x="154" y="223"/>
                    <a:pt x="153" y="221"/>
                    <a:pt x="151" y="218"/>
                  </a:cubicBezTo>
                  <a:cubicBezTo>
                    <a:pt x="146" y="213"/>
                    <a:pt x="140" y="205"/>
                    <a:pt x="133" y="195"/>
                  </a:cubicBezTo>
                  <a:cubicBezTo>
                    <a:pt x="118" y="175"/>
                    <a:pt x="99" y="146"/>
                    <a:pt x="78" y="114"/>
                  </a:cubicBezTo>
                  <a:cubicBezTo>
                    <a:pt x="56" y="83"/>
                    <a:pt x="37" y="54"/>
                    <a:pt x="23" y="33"/>
                  </a:cubicBezTo>
                  <a:cubicBezTo>
                    <a:pt x="16" y="23"/>
                    <a:pt x="10" y="15"/>
                    <a:pt x="6" y="9"/>
                  </a:cubicBezTo>
                  <a:cubicBezTo>
                    <a:pt x="4" y="7"/>
                    <a:pt x="2" y="4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2" y="2"/>
                  </a:cubicBezTo>
                  <a:cubicBezTo>
                    <a:pt x="3" y="4"/>
                    <a:pt x="5" y="6"/>
                    <a:pt x="7" y="8"/>
                  </a:cubicBezTo>
                  <a:cubicBezTo>
                    <a:pt x="11" y="14"/>
                    <a:pt x="17" y="22"/>
                    <a:pt x="24" y="32"/>
                  </a:cubicBezTo>
                  <a:cubicBezTo>
                    <a:pt x="39" y="52"/>
                    <a:pt x="59" y="81"/>
                    <a:pt x="80" y="113"/>
                  </a:cubicBezTo>
                  <a:cubicBezTo>
                    <a:pt x="101" y="144"/>
                    <a:pt x="120" y="173"/>
                    <a:pt x="135" y="194"/>
                  </a:cubicBezTo>
                  <a:cubicBezTo>
                    <a:pt x="142" y="204"/>
                    <a:pt x="147" y="212"/>
                    <a:pt x="152" y="218"/>
                  </a:cubicBezTo>
                  <a:cubicBezTo>
                    <a:pt x="153" y="220"/>
                    <a:pt x="155" y="223"/>
                    <a:pt x="156" y="224"/>
                  </a:cubicBezTo>
                  <a:cubicBezTo>
                    <a:pt x="157" y="226"/>
                    <a:pt x="158" y="227"/>
                    <a:pt x="158" y="22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id="{08215D30-BD7D-4944-8213-8392844C1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0" y="3346"/>
              <a:ext cx="570" cy="347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164EDCB8-D157-43ED-BAFE-169BC3C09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3" y="2446"/>
              <a:ext cx="790" cy="1257"/>
            </a:xfrm>
            <a:custGeom>
              <a:avLst/>
              <a:gdLst>
                <a:gd name="T0" fmla="*/ 30 w 333"/>
                <a:gd name="T1" fmla="*/ 16 h 529"/>
                <a:gd name="T2" fmla="*/ 85 w 333"/>
                <a:gd name="T3" fmla="*/ 64 h 529"/>
                <a:gd name="T4" fmla="*/ 123 w 333"/>
                <a:gd name="T5" fmla="*/ 165 h 529"/>
                <a:gd name="T6" fmla="*/ 140 w 333"/>
                <a:gd name="T7" fmla="*/ 171 h 529"/>
                <a:gd name="T8" fmla="*/ 178 w 333"/>
                <a:gd name="T9" fmla="*/ 145 h 529"/>
                <a:gd name="T10" fmla="*/ 193 w 333"/>
                <a:gd name="T11" fmla="*/ 194 h 529"/>
                <a:gd name="T12" fmla="*/ 180 w 333"/>
                <a:gd name="T13" fmla="*/ 282 h 529"/>
                <a:gd name="T14" fmla="*/ 189 w 333"/>
                <a:gd name="T15" fmla="*/ 290 h 529"/>
                <a:gd name="T16" fmla="*/ 259 w 333"/>
                <a:gd name="T17" fmla="*/ 265 h 529"/>
                <a:gd name="T18" fmla="*/ 251 w 333"/>
                <a:gd name="T19" fmla="*/ 364 h 529"/>
                <a:gd name="T20" fmla="*/ 253 w 333"/>
                <a:gd name="T21" fmla="*/ 377 h 529"/>
                <a:gd name="T22" fmla="*/ 283 w 333"/>
                <a:gd name="T23" fmla="*/ 352 h 529"/>
                <a:gd name="T24" fmla="*/ 322 w 333"/>
                <a:gd name="T25" fmla="*/ 342 h 529"/>
                <a:gd name="T26" fmla="*/ 277 w 333"/>
                <a:gd name="T27" fmla="*/ 493 h 529"/>
                <a:gd name="T28" fmla="*/ 248 w 333"/>
                <a:gd name="T29" fmla="*/ 529 h 529"/>
                <a:gd name="T30" fmla="*/ 202 w 333"/>
                <a:gd name="T31" fmla="*/ 524 h 529"/>
                <a:gd name="T32" fmla="*/ 62 w 333"/>
                <a:gd name="T33" fmla="*/ 453 h 529"/>
                <a:gd name="T34" fmla="*/ 96 w 333"/>
                <a:gd name="T35" fmla="*/ 431 h 529"/>
                <a:gd name="T36" fmla="*/ 135 w 333"/>
                <a:gd name="T37" fmla="*/ 427 h 529"/>
                <a:gd name="T38" fmla="*/ 127 w 333"/>
                <a:gd name="T39" fmla="*/ 416 h 529"/>
                <a:gd name="T40" fmla="*/ 50 w 333"/>
                <a:gd name="T41" fmla="*/ 353 h 529"/>
                <a:gd name="T42" fmla="*/ 117 w 333"/>
                <a:gd name="T43" fmla="*/ 321 h 529"/>
                <a:gd name="T44" fmla="*/ 117 w 333"/>
                <a:gd name="T45" fmla="*/ 308 h 529"/>
                <a:gd name="T46" fmla="*/ 45 w 333"/>
                <a:gd name="T47" fmla="*/ 257 h 529"/>
                <a:gd name="T48" fmla="*/ 20 w 333"/>
                <a:gd name="T49" fmla="*/ 212 h 529"/>
                <a:gd name="T50" fmla="*/ 53 w 333"/>
                <a:gd name="T51" fmla="*/ 203 h 529"/>
                <a:gd name="T52" fmla="*/ 65 w 333"/>
                <a:gd name="T53" fmla="*/ 203 h 529"/>
                <a:gd name="T54" fmla="*/ 73 w 333"/>
                <a:gd name="T55" fmla="*/ 186 h 529"/>
                <a:gd name="T56" fmla="*/ 26 w 333"/>
                <a:gd name="T57" fmla="*/ 89 h 529"/>
                <a:gd name="T58" fmla="*/ 30 w 333"/>
                <a:gd name="T59" fmla="*/ 16 h 529"/>
                <a:gd name="T60" fmla="*/ 30 w 333"/>
                <a:gd name="T61" fmla="*/ 16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3" h="529">
                  <a:moveTo>
                    <a:pt x="30" y="16"/>
                  </a:moveTo>
                  <a:cubicBezTo>
                    <a:pt x="30" y="16"/>
                    <a:pt x="57" y="0"/>
                    <a:pt x="85" y="64"/>
                  </a:cubicBezTo>
                  <a:cubicBezTo>
                    <a:pt x="113" y="129"/>
                    <a:pt x="123" y="165"/>
                    <a:pt x="123" y="165"/>
                  </a:cubicBezTo>
                  <a:cubicBezTo>
                    <a:pt x="123" y="165"/>
                    <a:pt x="131" y="179"/>
                    <a:pt x="140" y="171"/>
                  </a:cubicBezTo>
                  <a:cubicBezTo>
                    <a:pt x="150" y="163"/>
                    <a:pt x="163" y="140"/>
                    <a:pt x="178" y="145"/>
                  </a:cubicBezTo>
                  <a:cubicBezTo>
                    <a:pt x="194" y="150"/>
                    <a:pt x="198" y="168"/>
                    <a:pt x="193" y="194"/>
                  </a:cubicBezTo>
                  <a:cubicBezTo>
                    <a:pt x="189" y="220"/>
                    <a:pt x="181" y="277"/>
                    <a:pt x="180" y="282"/>
                  </a:cubicBezTo>
                  <a:cubicBezTo>
                    <a:pt x="180" y="287"/>
                    <a:pt x="182" y="294"/>
                    <a:pt x="189" y="290"/>
                  </a:cubicBezTo>
                  <a:cubicBezTo>
                    <a:pt x="197" y="286"/>
                    <a:pt x="240" y="243"/>
                    <a:pt x="259" y="265"/>
                  </a:cubicBezTo>
                  <a:cubicBezTo>
                    <a:pt x="278" y="286"/>
                    <a:pt x="253" y="356"/>
                    <a:pt x="251" y="364"/>
                  </a:cubicBezTo>
                  <a:cubicBezTo>
                    <a:pt x="248" y="371"/>
                    <a:pt x="250" y="375"/>
                    <a:pt x="253" y="377"/>
                  </a:cubicBezTo>
                  <a:cubicBezTo>
                    <a:pt x="257" y="379"/>
                    <a:pt x="270" y="363"/>
                    <a:pt x="283" y="352"/>
                  </a:cubicBezTo>
                  <a:cubicBezTo>
                    <a:pt x="296" y="340"/>
                    <a:pt x="313" y="329"/>
                    <a:pt x="322" y="342"/>
                  </a:cubicBezTo>
                  <a:cubicBezTo>
                    <a:pt x="332" y="356"/>
                    <a:pt x="333" y="409"/>
                    <a:pt x="277" y="493"/>
                  </a:cubicBezTo>
                  <a:cubicBezTo>
                    <a:pt x="248" y="529"/>
                    <a:pt x="248" y="529"/>
                    <a:pt x="248" y="529"/>
                  </a:cubicBezTo>
                  <a:cubicBezTo>
                    <a:pt x="202" y="524"/>
                    <a:pt x="202" y="524"/>
                    <a:pt x="202" y="524"/>
                  </a:cubicBezTo>
                  <a:cubicBezTo>
                    <a:pt x="103" y="506"/>
                    <a:pt x="65" y="469"/>
                    <a:pt x="62" y="453"/>
                  </a:cubicBezTo>
                  <a:cubicBezTo>
                    <a:pt x="59" y="436"/>
                    <a:pt x="79" y="432"/>
                    <a:pt x="96" y="431"/>
                  </a:cubicBezTo>
                  <a:cubicBezTo>
                    <a:pt x="114" y="430"/>
                    <a:pt x="134" y="431"/>
                    <a:pt x="135" y="427"/>
                  </a:cubicBezTo>
                  <a:cubicBezTo>
                    <a:pt x="136" y="423"/>
                    <a:pt x="134" y="420"/>
                    <a:pt x="127" y="416"/>
                  </a:cubicBezTo>
                  <a:cubicBezTo>
                    <a:pt x="120" y="413"/>
                    <a:pt x="53" y="382"/>
                    <a:pt x="50" y="353"/>
                  </a:cubicBezTo>
                  <a:cubicBezTo>
                    <a:pt x="48" y="324"/>
                    <a:pt x="108" y="323"/>
                    <a:pt x="117" y="321"/>
                  </a:cubicBezTo>
                  <a:cubicBezTo>
                    <a:pt x="125" y="318"/>
                    <a:pt x="121" y="311"/>
                    <a:pt x="117" y="308"/>
                  </a:cubicBezTo>
                  <a:cubicBezTo>
                    <a:pt x="113" y="305"/>
                    <a:pt x="66" y="272"/>
                    <a:pt x="45" y="257"/>
                  </a:cubicBezTo>
                  <a:cubicBezTo>
                    <a:pt x="23" y="242"/>
                    <a:pt x="13" y="227"/>
                    <a:pt x="20" y="212"/>
                  </a:cubicBezTo>
                  <a:cubicBezTo>
                    <a:pt x="24" y="201"/>
                    <a:pt x="40" y="202"/>
                    <a:pt x="53" y="203"/>
                  </a:cubicBezTo>
                  <a:cubicBezTo>
                    <a:pt x="57" y="203"/>
                    <a:pt x="62" y="203"/>
                    <a:pt x="65" y="203"/>
                  </a:cubicBezTo>
                  <a:cubicBezTo>
                    <a:pt x="77" y="201"/>
                    <a:pt x="73" y="186"/>
                    <a:pt x="73" y="186"/>
                  </a:cubicBezTo>
                  <a:cubicBezTo>
                    <a:pt x="73" y="186"/>
                    <a:pt x="53" y="154"/>
                    <a:pt x="26" y="89"/>
                  </a:cubicBezTo>
                  <a:cubicBezTo>
                    <a:pt x="0" y="24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1" name="Freeform 12">
              <a:extLst>
                <a:ext uri="{FF2B5EF4-FFF2-40B4-BE49-F238E27FC236}">
                  <a16:creationId xmlns:a16="http://schemas.microsoft.com/office/drawing/2014/main" id="{87BF6B54-B08C-4C6D-9CAD-360D1E8D8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3" y="2620"/>
              <a:ext cx="530" cy="1244"/>
            </a:xfrm>
            <a:custGeom>
              <a:avLst/>
              <a:gdLst>
                <a:gd name="T0" fmla="*/ 0 w 223"/>
                <a:gd name="T1" fmla="*/ 0 h 524"/>
                <a:gd name="T2" fmla="*/ 1 w 223"/>
                <a:gd name="T3" fmla="*/ 2 h 524"/>
                <a:gd name="T4" fmla="*/ 2 w 223"/>
                <a:gd name="T5" fmla="*/ 6 h 524"/>
                <a:gd name="T6" fmla="*/ 8 w 223"/>
                <a:gd name="T7" fmla="*/ 21 h 524"/>
                <a:gd name="T8" fmla="*/ 32 w 223"/>
                <a:gd name="T9" fmla="*/ 77 h 524"/>
                <a:gd name="T10" fmla="*/ 111 w 223"/>
                <a:gd name="T11" fmla="*/ 262 h 524"/>
                <a:gd name="T12" fmla="*/ 191 w 223"/>
                <a:gd name="T13" fmla="*/ 447 h 524"/>
                <a:gd name="T14" fmla="*/ 214 w 223"/>
                <a:gd name="T15" fmla="*/ 503 h 524"/>
                <a:gd name="T16" fmla="*/ 221 w 223"/>
                <a:gd name="T17" fmla="*/ 519 h 524"/>
                <a:gd name="T18" fmla="*/ 223 w 223"/>
                <a:gd name="T19" fmla="*/ 523 h 524"/>
                <a:gd name="T20" fmla="*/ 223 w 223"/>
                <a:gd name="T21" fmla="*/ 524 h 524"/>
                <a:gd name="T22" fmla="*/ 223 w 223"/>
                <a:gd name="T23" fmla="*/ 523 h 524"/>
                <a:gd name="T24" fmla="*/ 221 w 223"/>
                <a:gd name="T25" fmla="*/ 519 h 524"/>
                <a:gd name="T26" fmla="*/ 215 w 223"/>
                <a:gd name="T27" fmla="*/ 503 h 524"/>
                <a:gd name="T28" fmla="*/ 192 w 223"/>
                <a:gd name="T29" fmla="*/ 447 h 524"/>
                <a:gd name="T30" fmla="*/ 112 w 223"/>
                <a:gd name="T31" fmla="*/ 262 h 524"/>
                <a:gd name="T32" fmla="*/ 33 w 223"/>
                <a:gd name="T33" fmla="*/ 77 h 524"/>
                <a:gd name="T34" fmla="*/ 9 w 223"/>
                <a:gd name="T35" fmla="*/ 21 h 524"/>
                <a:gd name="T36" fmla="*/ 2 w 223"/>
                <a:gd name="T37" fmla="*/ 6 h 524"/>
                <a:gd name="T38" fmla="*/ 1 w 223"/>
                <a:gd name="T39" fmla="*/ 2 h 524"/>
                <a:gd name="T40" fmla="*/ 0 w 223"/>
                <a:gd name="T41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3" h="524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3"/>
                    <a:pt x="2" y="4"/>
                    <a:pt x="2" y="6"/>
                  </a:cubicBezTo>
                  <a:cubicBezTo>
                    <a:pt x="4" y="9"/>
                    <a:pt x="6" y="15"/>
                    <a:pt x="8" y="21"/>
                  </a:cubicBezTo>
                  <a:cubicBezTo>
                    <a:pt x="14" y="34"/>
                    <a:pt x="22" y="54"/>
                    <a:pt x="32" y="77"/>
                  </a:cubicBezTo>
                  <a:cubicBezTo>
                    <a:pt x="52" y="125"/>
                    <a:pt x="80" y="190"/>
                    <a:pt x="111" y="262"/>
                  </a:cubicBezTo>
                  <a:cubicBezTo>
                    <a:pt x="142" y="335"/>
                    <a:pt x="171" y="400"/>
                    <a:pt x="191" y="447"/>
                  </a:cubicBezTo>
                  <a:cubicBezTo>
                    <a:pt x="201" y="471"/>
                    <a:pt x="209" y="490"/>
                    <a:pt x="214" y="503"/>
                  </a:cubicBezTo>
                  <a:cubicBezTo>
                    <a:pt x="217" y="510"/>
                    <a:pt x="219" y="515"/>
                    <a:pt x="221" y="519"/>
                  </a:cubicBezTo>
                  <a:cubicBezTo>
                    <a:pt x="222" y="520"/>
                    <a:pt x="222" y="522"/>
                    <a:pt x="223" y="523"/>
                  </a:cubicBezTo>
                  <a:cubicBezTo>
                    <a:pt x="223" y="523"/>
                    <a:pt x="223" y="524"/>
                    <a:pt x="223" y="524"/>
                  </a:cubicBezTo>
                  <a:cubicBezTo>
                    <a:pt x="223" y="524"/>
                    <a:pt x="223" y="523"/>
                    <a:pt x="223" y="523"/>
                  </a:cubicBezTo>
                  <a:cubicBezTo>
                    <a:pt x="222" y="522"/>
                    <a:pt x="222" y="520"/>
                    <a:pt x="221" y="519"/>
                  </a:cubicBezTo>
                  <a:cubicBezTo>
                    <a:pt x="220" y="515"/>
                    <a:pt x="218" y="510"/>
                    <a:pt x="215" y="503"/>
                  </a:cubicBezTo>
                  <a:cubicBezTo>
                    <a:pt x="210" y="490"/>
                    <a:pt x="202" y="471"/>
                    <a:pt x="192" y="447"/>
                  </a:cubicBezTo>
                  <a:cubicBezTo>
                    <a:pt x="172" y="399"/>
                    <a:pt x="144" y="334"/>
                    <a:pt x="112" y="262"/>
                  </a:cubicBezTo>
                  <a:cubicBezTo>
                    <a:pt x="81" y="190"/>
                    <a:pt x="53" y="124"/>
                    <a:pt x="33" y="77"/>
                  </a:cubicBezTo>
                  <a:cubicBezTo>
                    <a:pt x="23" y="53"/>
                    <a:pt x="15" y="34"/>
                    <a:pt x="9" y="21"/>
                  </a:cubicBezTo>
                  <a:cubicBezTo>
                    <a:pt x="6" y="14"/>
                    <a:pt x="4" y="9"/>
                    <a:pt x="2" y="6"/>
                  </a:cubicBezTo>
                  <a:cubicBezTo>
                    <a:pt x="2" y="4"/>
                    <a:pt x="1" y="3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2" name="Freeform 13">
              <a:extLst>
                <a:ext uri="{FF2B5EF4-FFF2-40B4-BE49-F238E27FC236}">
                  <a16:creationId xmlns:a16="http://schemas.microsoft.com/office/drawing/2014/main" id="{59E62AE7-EF19-417D-ABAA-CDF8889D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" y="2869"/>
              <a:ext cx="62" cy="195"/>
            </a:xfrm>
            <a:custGeom>
              <a:avLst/>
              <a:gdLst>
                <a:gd name="T0" fmla="*/ 26 w 26"/>
                <a:gd name="T1" fmla="*/ 0 h 82"/>
                <a:gd name="T2" fmla="*/ 25 w 26"/>
                <a:gd name="T3" fmla="*/ 3 h 82"/>
                <a:gd name="T4" fmla="*/ 22 w 26"/>
                <a:gd name="T5" fmla="*/ 12 h 82"/>
                <a:gd name="T6" fmla="*/ 13 w 26"/>
                <a:gd name="T7" fmla="*/ 41 h 82"/>
                <a:gd name="T8" fmla="*/ 4 w 26"/>
                <a:gd name="T9" fmla="*/ 70 h 82"/>
                <a:gd name="T10" fmla="*/ 1 w 26"/>
                <a:gd name="T11" fmla="*/ 79 h 82"/>
                <a:gd name="T12" fmla="*/ 1 w 26"/>
                <a:gd name="T13" fmla="*/ 82 h 82"/>
                <a:gd name="T14" fmla="*/ 2 w 26"/>
                <a:gd name="T15" fmla="*/ 79 h 82"/>
                <a:gd name="T16" fmla="*/ 5 w 26"/>
                <a:gd name="T17" fmla="*/ 70 h 82"/>
                <a:gd name="T18" fmla="*/ 14 w 26"/>
                <a:gd name="T19" fmla="*/ 41 h 82"/>
                <a:gd name="T20" fmla="*/ 23 w 26"/>
                <a:gd name="T21" fmla="*/ 12 h 82"/>
                <a:gd name="T22" fmla="*/ 26 w 26"/>
                <a:gd name="T23" fmla="*/ 4 h 82"/>
                <a:gd name="T24" fmla="*/ 26 w 26"/>
                <a:gd name="T25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82">
                  <a:moveTo>
                    <a:pt x="26" y="0"/>
                  </a:moveTo>
                  <a:cubicBezTo>
                    <a:pt x="26" y="0"/>
                    <a:pt x="26" y="1"/>
                    <a:pt x="25" y="3"/>
                  </a:cubicBezTo>
                  <a:cubicBezTo>
                    <a:pt x="24" y="6"/>
                    <a:pt x="23" y="8"/>
                    <a:pt x="22" y="12"/>
                  </a:cubicBezTo>
                  <a:cubicBezTo>
                    <a:pt x="19" y="19"/>
                    <a:pt x="16" y="30"/>
                    <a:pt x="13" y="41"/>
                  </a:cubicBezTo>
                  <a:cubicBezTo>
                    <a:pt x="9" y="52"/>
                    <a:pt x="6" y="62"/>
                    <a:pt x="4" y="70"/>
                  </a:cubicBezTo>
                  <a:cubicBezTo>
                    <a:pt x="3" y="73"/>
                    <a:pt x="2" y="76"/>
                    <a:pt x="1" y="79"/>
                  </a:cubicBezTo>
                  <a:cubicBezTo>
                    <a:pt x="1" y="81"/>
                    <a:pt x="0" y="82"/>
                    <a:pt x="1" y="82"/>
                  </a:cubicBezTo>
                  <a:cubicBezTo>
                    <a:pt x="1" y="82"/>
                    <a:pt x="1" y="81"/>
                    <a:pt x="2" y="79"/>
                  </a:cubicBezTo>
                  <a:cubicBezTo>
                    <a:pt x="3" y="77"/>
                    <a:pt x="4" y="74"/>
                    <a:pt x="5" y="70"/>
                  </a:cubicBezTo>
                  <a:cubicBezTo>
                    <a:pt x="8" y="63"/>
                    <a:pt x="11" y="53"/>
                    <a:pt x="14" y="41"/>
                  </a:cubicBezTo>
                  <a:cubicBezTo>
                    <a:pt x="17" y="30"/>
                    <a:pt x="21" y="20"/>
                    <a:pt x="23" y="12"/>
                  </a:cubicBezTo>
                  <a:cubicBezTo>
                    <a:pt x="24" y="9"/>
                    <a:pt x="25" y="6"/>
                    <a:pt x="26" y="4"/>
                  </a:cubicBezTo>
                  <a:cubicBezTo>
                    <a:pt x="26" y="2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3" name="Freeform 14">
              <a:extLst>
                <a:ext uri="{FF2B5EF4-FFF2-40B4-BE49-F238E27FC236}">
                  <a16:creationId xmlns:a16="http://schemas.microsoft.com/office/drawing/2014/main" id="{6F515B83-E66F-4817-8E14-277376F7D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2985"/>
              <a:ext cx="220" cy="81"/>
            </a:xfrm>
            <a:custGeom>
              <a:avLst/>
              <a:gdLst>
                <a:gd name="T0" fmla="*/ 93 w 93"/>
                <a:gd name="T1" fmla="*/ 33 h 34"/>
                <a:gd name="T2" fmla="*/ 47 w 93"/>
                <a:gd name="T3" fmla="*/ 16 h 34"/>
                <a:gd name="T4" fmla="*/ 0 w 93"/>
                <a:gd name="T5" fmla="*/ 1 h 34"/>
                <a:gd name="T6" fmla="*/ 47 w 93"/>
                <a:gd name="T7" fmla="*/ 18 h 34"/>
                <a:gd name="T8" fmla="*/ 93 w 93"/>
                <a:gd name="T9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34">
                  <a:moveTo>
                    <a:pt x="93" y="33"/>
                  </a:moveTo>
                  <a:cubicBezTo>
                    <a:pt x="93" y="33"/>
                    <a:pt x="73" y="25"/>
                    <a:pt x="47" y="16"/>
                  </a:cubicBezTo>
                  <a:cubicBezTo>
                    <a:pt x="21" y="7"/>
                    <a:pt x="0" y="0"/>
                    <a:pt x="0" y="1"/>
                  </a:cubicBezTo>
                  <a:cubicBezTo>
                    <a:pt x="0" y="1"/>
                    <a:pt x="21" y="9"/>
                    <a:pt x="47" y="18"/>
                  </a:cubicBezTo>
                  <a:cubicBezTo>
                    <a:pt x="72" y="27"/>
                    <a:pt x="93" y="34"/>
                    <a:pt x="93" y="33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4" name="Freeform 15">
              <a:extLst>
                <a:ext uri="{FF2B5EF4-FFF2-40B4-BE49-F238E27FC236}">
                  <a16:creationId xmlns:a16="http://schemas.microsoft.com/office/drawing/2014/main" id="{C1EE67A2-14C2-4C07-A389-41F58C67A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" y="3301"/>
              <a:ext cx="206" cy="22"/>
            </a:xfrm>
            <a:custGeom>
              <a:avLst/>
              <a:gdLst>
                <a:gd name="T0" fmla="*/ 87 w 87"/>
                <a:gd name="T1" fmla="*/ 9 h 9"/>
                <a:gd name="T2" fmla="*/ 84 w 87"/>
                <a:gd name="T3" fmla="*/ 9 h 9"/>
                <a:gd name="T4" fmla="*/ 74 w 87"/>
                <a:gd name="T5" fmla="*/ 8 h 9"/>
                <a:gd name="T6" fmla="*/ 44 w 87"/>
                <a:gd name="T7" fmla="*/ 6 h 9"/>
                <a:gd name="T8" fmla="*/ 13 w 87"/>
                <a:gd name="T9" fmla="*/ 2 h 9"/>
                <a:gd name="T10" fmla="*/ 4 w 87"/>
                <a:gd name="T11" fmla="*/ 1 h 9"/>
                <a:gd name="T12" fmla="*/ 0 w 87"/>
                <a:gd name="T13" fmla="*/ 1 h 9"/>
                <a:gd name="T14" fmla="*/ 4 w 87"/>
                <a:gd name="T15" fmla="*/ 1 h 9"/>
                <a:gd name="T16" fmla="*/ 13 w 87"/>
                <a:gd name="T17" fmla="*/ 3 h 9"/>
                <a:gd name="T18" fmla="*/ 44 w 87"/>
                <a:gd name="T19" fmla="*/ 7 h 9"/>
                <a:gd name="T20" fmla="*/ 74 w 87"/>
                <a:gd name="T21" fmla="*/ 9 h 9"/>
                <a:gd name="T22" fmla="*/ 84 w 87"/>
                <a:gd name="T23" fmla="*/ 9 h 9"/>
                <a:gd name="T24" fmla="*/ 87 w 87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9">
                  <a:moveTo>
                    <a:pt x="87" y="9"/>
                  </a:moveTo>
                  <a:cubicBezTo>
                    <a:pt x="87" y="9"/>
                    <a:pt x="86" y="9"/>
                    <a:pt x="84" y="9"/>
                  </a:cubicBezTo>
                  <a:cubicBezTo>
                    <a:pt x="81" y="9"/>
                    <a:pt x="78" y="8"/>
                    <a:pt x="74" y="8"/>
                  </a:cubicBezTo>
                  <a:cubicBezTo>
                    <a:pt x="67" y="8"/>
                    <a:pt x="56" y="7"/>
                    <a:pt x="44" y="6"/>
                  </a:cubicBezTo>
                  <a:cubicBezTo>
                    <a:pt x="32" y="5"/>
                    <a:pt x="21" y="3"/>
                    <a:pt x="13" y="2"/>
                  </a:cubicBezTo>
                  <a:cubicBezTo>
                    <a:pt x="9" y="2"/>
                    <a:pt x="6" y="1"/>
                    <a:pt x="4" y="1"/>
                  </a:cubicBezTo>
                  <a:cubicBezTo>
                    <a:pt x="2" y="1"/>
                    <a:pt x="0" y="0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6" y="2"/>
                    <a:pt x="9" y="2"/>
                    <a:pt x="13" y="3"/>
                  </a:cubicBezTo>
                  <a:cubicBezTo>
                    <a:pt x="21" y="5"/>
                    <a:pt x="32" y="6"/>
                    <a:pt x="44" y="7"/>
                  </a:cubicBezTo>
                  <a:cubicBezTo>
                    <a:pt x="56" y="8"/>
                    <a:pt x="66" y="9"/>
                    <a:pt x="74" y="9"/>
                  </a:cubicBezTo>
                  <a:cubicBezTo>
                    <a:pt x="78" y="9"/>
                    <a:pt x="82" y="9"/>
                    <a:pt x="84" y="9"/>
                  </a:cubicBezTo>
                  <a:cubicBezTo>
                    <a:pt x="86" y="9"/>
                    <a:pt x="87" y="9"/>
                    <a:pt x="87" y="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5" name="Freeform 16">
              <a:extLst>
                <a:ext uri="{FF2B5EF4-FFF2-40B4-BE49-F238E27FC236}">
                  <a16:creationId xmlns:a16="http://schemas.microsoft.com/office/drawing/2014/main" id="{7EE5655E-498E-4485-BD2A-657B50228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" y="3161"/>
              <a:ext cx="107" cy="159"/>
            </a:xfrm>
            <a:custGeom>
              <a:avLst/>
              <a:gdLst>
                <a:gd name="T0" fmla="*/ 45 w 45"/>
                <a:gd name="T1" fmla="*/ 0 h 67"/>
                <a:gd name="T2" fmla="*/ 43 w 45"/>
                <a:gd name="T3" fmla="*/ 2 h 67"/>
                <a:gd name="T4" fmla="*/ 38 w 45"/>
                <a:gd name="T5" fmla="*/ 9 h 67"/>
                <a:gd name="T6" fmla="*/ 22 w 45"/>
                <a:gd name="T7" fmla="*/ 33 h 67"/>
                <a:gd name="T8" fmla="*/ 7 w 45"/>
                <a:gd name="T9" fmla="*/ 57 h 67"/>
                <a:gd name="T10" fmla="*/ 2 w 45"/>
                <a:gd name="T11" fmla="*/ 64 h 67"/>
                <a:gd name="T12" fmla="*/ 0 w 45"/>
                <a:gd name="T13" fmla="*/ 67 h 67"/>
                <a:gd name="T14" fmla="*/ 2 w 45"/>
                <a:gd name="T15" fmla="*/ 65 h 67"/>
                <a:gd name="T16" fmla="*/ 7 w 45"/>
                <a:gd name="T17" fmla="*/ 58 h 67"/>
                <a:gd name="T18" fmla="*/ 23 w 45"/>
                <a:gd name="T19" fmla="*/ 34 h 67"/>
                <a:gd name="T20" fmla="*/ 39 w 45"/>
                <a:gd name="T21" fmla="*/ 10 h 67"/>
                <a:gd name="T22" fmla="*/ 43 w 45"/>
                <a:gd name="T23" fmla="*/ 3 h 67"/>
                <a:gd name="T24" fmla="*/ 45 w 45"/>
                <a:gd name="T2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67">
                  <a:moveTo>
                    <a:pt x="45" y="0"/>
                  </a:moveTo>
                  <a:cubicBezTo>
                    <a:pt x="45" y="0"/>
                    <a:pt x="44" y="1"/>
                    <a:pt x="43" y="2"/>
                  </a:cubicBezTo>
                  <a:cubicBezTo>
                    <a:pt x="41" y="4"/>
                    <a:pt x="40" y="7"/>
                    <a:pt x="38" y="9"/>
                  </a:cubicBezTo>
                  <a:cubicBezTo>
                    <a:pt x="34" y="15"/>
                    <a:pt x="28" y="24"/>
                    <a:pt x="22" y="33"/>
                  </a:cubicBezTo>
                  <a:cubicBezTo>
                    <a:pt x="16" y="42"/>
                    <a:pt x="10" y="51"/>
                    <a:pt x="7" y="57"/>
                  </a:cubicBezTo>
                  <a:cubicBezTo>
                    <a:pt x="5" y="60"/>
                    <a:pt x="3" y="62"/>
                    <a:pt x="2" y="64"/>
                  </a:cubicBezTo>
                  <a:cubicBezTo>
                    <a:pt x="1" y="66"/>
                    <a:pt x="0" y="67"/>
                    <a:pt x="0" y="67"/>
                  </a:cubicBezTo>
                  <a:cubicBezTo>
                    <a:pt x="1" y="67"/>
                    <a:pt x="1" y="66"/>
                    <a:pt x="2" y="65"/>
                  </a:cubicBezTo>
                  <a:cubicBezTo>
                    <a:pt x="4" y="63"/>
                    <a:pt x="5" y="60"/>
                    <a:pt x="7" y="58"/>
                  </a:cubicBezTo>
                  <a:cubicBezTo>
                    <a:pt x="12" y="52"/>
                    <a:pt x="17" y="43"/>
                    <a:pt x="23" y="34"/>
                  </a:cubicBezTo>
                  <a:cubicBezTo>
                    <a:pt x="29" y="25"/>
                    <a:pt x="35" y="16"/>
                    <a:pt x="39" y="10"/>
                  </a:cubicBezTo>
                  <a:cubicBezTo>
                    <a:pt x="41" y="7"/>
                    <a:pt x="42" y="5"/>
                    <a:pt x="43" y="3"/>
                  </a:cubicBezTo>
                  <a:cubicBezTo>
                    <a:pt x="44" y="1"/>
                    <a:pt x="45" y="0"/>
                    <a:pt x="45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6" name="Freeform 17">
              <a:extLst>
                <a:ext uri="{FF2B5EF4-FFF2-40B4-BE49-F238E27FC236}">
                  <a16:creationId xmlns:a16="http://schemas.microsoft.com/office/drawing/2014/main" id="{E4BBE2A0-AEBE-44EC-8248-1619EADCE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" y="3375"/>
              <a:ext cx="138" cy="204"/>
            </a:xfrm>
            <a:custGeom>
              <a:avLst/>
              <a:gdLst>
                <a:gd name="T0" fmla="*/ 58 w 58"/>
                <a:gd name="T1" fmla="*/ 0 h 86"/>
                <a:gd name="T2" fmla="*/ 55 w 58"/>
                <a:gd name="T3" fmla="*/ 3 h 86"/>
                <a:gd name="T4" fmla="*/ 49 w 58"/>
                <a:gd name="T5" fmla="*/ 12 h 86"/>
                <a:gd name="T6" fmla="*/ 28 w 58"/>
                <a:gd name="T7" fmla="*/ 42 h 86"/>
                <a:gd name="T8" fmla="*/ 8 w 58"/>
                <a:gd name="T9" fmla="*/ 73 h 86"/>
                <a:gd name="T10" fmla="*/ 2 w 58"/>
                <a:gd name="T11" fmla="*/ 82 h 86"/>
                <a:gd name="T12" fmla="*/ 0 w 58"/>
                <a:gd name="T13" fmla="*/ 86 h 86"/>
                <a:gd name="T14" fmla="*/ 3 w 58"/>
                <a:gd name="T15" fmla="*/ 82 h 86"/>
                <a:gd name="T16" fmla="*/ 9 w 58"/>
                <a:gd name="T17" fmla="*/ 73 h 86"/>
                <a:gd name="T18" fmla="*/ 30 w 58"/>
                <a:gd name="T19" fmla="*/ 43 h 86"/>
                <a:gd name="T20" fmla="*/ 50 w 58"/>
                <a:gd name="T21" fmla="*/ 13 h 86"/>
                <a:gd name="T22" fmla="*/ 56 w 58"/>
                <a:gd name="T23" fmla="*/ 3 h 86"/>
                <a:gd name="T24" fmla="*/ 58 w 5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86">
                  <a:moveTo>
                    <a:pt x="58" y="0"/>
                  </a:moveTo>
                  <a:cubicBezTo>
                    <a:pt x="58" y="0"/>
                    <a:pt x="57" y="1"/>
                    <a:pt x="55" y="3"/>
                  </a:cubicBezTo>
                  <a:cubicBezTo>
                    <a:pt x="54" y="5"/>
                    <a:pt x="51" y="8"/>
                    <a:pt x="49" y="12"/>
                  </a:cubicBezTo>
                  <a:cubicBezTo>
                    <a:pt x="44" y="20"/>
                    <a:pt x="36" y="30"/>
                    <a:pt x="28" y="42"/>
                  </a:cubicBezTo>
                  <a:cubicBezTo>
                    <a:pt x="20" y="54"/>
                    <a:pt x="13" y="65"/>
                    <a:pt x="8" y="73"/>
                  </a:cubicBezTo>
                  <a:cubicBezTo>
                    <a:pt x="6" y="76"/>
                    <a:pt x="4" y="80"/>
                    <a:pt x="2" y="82"/>
                  </a:cubicBezTo>
                  <a:cubicBezTo>
                    <a:pt x="1" y="84"/>
                    <a:pt x="0" y="85"/>
                    <a:pt x="0" y="86"/>
                  </a:cubicBezTo>
                  <a:cubicBezTo>
                    <a:pt x="0" y="86"/>
                    <a:pt x="1" y="84"/>
                    <a:pt x="3" y="82"/>
                  </a:cubicBezTo>
                  <a:cubicBezTo>
                    <a:pt x="4" y="80"/>
                    <a:pt x="6" y="77"/>
                    <a:pt x="9" y="73"/>
                  </a:cubicBezTo>
                  <a:cubicBezTo>
                    <a:pt x="14" y="66"/>
                    <a:pt x="22" y="55"/>
                    <a:pt x="30" y="43"/>
                  </a:cubicBezTo>
                  <a:cubicBezTo>
                    <a:pt x="37" y="31"/>
                    <a:pt x="45" y="20"/>
                    <a:pt x="50" y="13"/>
                  </a:cubicBezTo>
                  <a:cubicBezTo>
                    <a:pt x="52" y="9"/>
                    <a:pt x="54" y="6"/>
                    <a:pt x="56" y="3"/>
                  </a:cubicBezTo>
                  <a:cubicBezTo>
                    <a:pt x="57" y="1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7" name="Freeform 18">
              <a:extLst>
                <a:ext uri="{FF2B5EF4-FFF2-40B4-BE49-F238E27FC236}">
                  <a16:creationId xmlns:a16="http://schemas.microsoft.com/office/drawing/2014/main" id="{8848ABA4-3B4D-4376-909D-8AC9AB21A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" y="3539"/>
              <a:ext cx="261" cy="33"/>
            </a:xfrm>
            <a:custGeom>
              <a:avLst/>
              <a:gdLst>
                <a:gd name="T0" fmla="*/ 110 w 110"/>
                <a:gd name="T1" fmla="*/ 14 h 14"/>
                <a:gd name="T2" fmla="*/ 106 w 110"/>
                <a:gd name="T3" fmla="*/ 14 h 14"/>
                <a:gd name="T4" fmla="*/ 94 w 110"/>
                <a:gd name="T5" fmla="*/ 12 h 14"/>
                <a:gd name="T6" fmla="*/ 55 w 110"/>
                <a:gd name="T7" fmla="*/ 8 h 14"/>
                <a:gd name="T8" fmla="*/ 16 w 110"/>
                <a:gd name="T9" fmla="*/ 3 h 14"/>
                <a:gd name="T10" fmla="*/ 4 w 110"/>
                <a:gd name="T11" fmla="*/ 1 h 14"/>
                <a:gd name="T12" fmla="*/ 0 w 110"/>
                <a:gd name="T13" fmla="*/ 0 h 14"/>
                <a:gd name="T14" fmla="*/ 4 w 110"/>
                <a:gd name="T15" fmla="*/ 1 h 14"/>
                <a:gd name="T16" fmla="*/ 16 w 110"/>
                <a:gd name="T17" fmla="*/ 4 h 14"/>
                <a:gd name="T18" fmla="*/ 55 w 110"/>
                <a:gd name="T19" fmla="*/ 10 h 14"/>
                <a:gd name="T20" fmla="*/ 94 w 110"/>
                <a:gd name="T21" fmla="*/ 13 h 14"/>
                <a:gd name="T22" fmla="*/ 106 w 110"/>
                <a:gd name="T23" fmla="*/ 14 h 14"/>
                <a:gd name="T24" fmla="*/ 110 w 110"/>
                <a:gd name="T2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14">
                  <a:moveTo>
                    <a:pt x="110" y="14"/>
                  </a:moveTo>
                  <a:cubicBezTo>
                    <a:pt x="110" y="14"/>
                    <a:pt x="108" y="14"/>
                    <a:pt x="106" y="14"/>
                  </a:cubicBezTo>
                  <a:cubicBezTo>
                    <a:pt x="103" y="13"/>
                    <a:pt x="99" y="13"/>
                    <a:pt x="94" y="12"/>
                  </a:cubicBezTo>
                  <a:cubicBezTo>
                    <a:pt x="84" y="11"/>
                    <a:pt x="70" y="10"/>
                    <a:pt x="55" y="8"/>
                  </a:cubicBezTo>
                  <a:cubicBezTo>
                    <a:pt x="40" y="6"/>
                    <a:pt x="26" y="4"/>
                    <a:pt x="16" y="3"/>
                  </a:cubicBezTo>
                  <a:cubicBezTo>
                    <a:pt x="11" y="2"/>
                    <a:pt x="7" y="1"/>
                    <a:pt x="4" y="1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0"/>
                    <a:pt x="2" y="1"/>
                    <a:pt x="4" y="1"/>
                  </a:cubicBezTo>
                  <a:cubicBezTo>
                    <a:pt x="7" y="2"/>
                    <a:pt x="11" y="3"/>
                    <a:pt x="16" y="4"/>
                  </a:cubicBezTo>
                  <a:cubicBezTo>
                    <a:pt x="26" y="6"/>
                    <a:pt x="40" y="8"/>
                    <a:pt x="55" y="10"/>
                  </a:cubicBezTo>
                  <a:cubicBezTo>
                    <a:pt x="70" y="12"/>
                    <a:pt x="84" y="13"/>
                    <a:pt x="94" y="13"/>
                  </a:cubicBezTo>
                  <a:cubicBezTo>
                    <a:pt x="99" y="14"/>
                    <a:pt x="103" y="14"/>
                    <a:pt x="106" y="14"/>
                  </a:cubicBezTo>
                  <a:cubicBezTo>
                    <a:pt x="108" y="14"/>
                    <a:pt x="110" y="14"/>
                    <a:pt x="110" y="1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8" name="Freeform 19">
              <a:extLst>
                <a:ext uri="{FF2B5EF4-FFF2-40B4-BE49-F238E27FC236}">
                  <a16:creationId xmlns:a16="http://schemas.microsoft.com/office/drawing/2014/main" id="{44F5C727-18D1-4424-9816-A6045100F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" y="3795"/>
              <a:ext cx="17" cy="38"/>
            </a:xfrm>
            <a:custGeom>
              <a:avLst/>
              <a:gdLst>
                <a:gd name="T0" fmla="*/ 3 w 7"/>
                <a:gd name="T1" fmla="*/ 0 h 16"/>
                <a:gd name="T2" fmla="*/ 0 w 7"/>
                <a:gd name="T3" fmla="*/ 13 h 16"/>
                <a:gd name="T4" fmla="*/ 2 w 7"/>
                <a:gd name="T5" fmla="*/ 16 h 16"/>
                <a:gd name="T6" fmla="*/ 4 w 7"/>
                <a:gd name="T7" fmla="*/ 14 h 16"/>
                <a:gd name="T8" fmla="*/ 7 w 7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6">
                  <a:moveTo>
                    <a:pt x="3" y="0"/>
                  </a:moveTo>
                  <a:cubicBezTo>
                    <a:pt x="2" y="4"/>
                    <a:pt x="1" y="8"/>
                    <a:pt x="0" y="13"/>
                  </a:cubicBezTo>
                  <a:cubicBezTo>
                    <a:pt x="0" y="14"/>
                    <a:pt x="0" y="16"/>
                    <a:pt x="2" y="16"/>
                  </a:cubicBezTo>
                  <a:cubicBezTo>
                    <a:pt x="3" y="16"/>
                    <a:pt x="3" y="15"/>
                    <a:pt x="4" y="14"/>
                  </a:cubicBezTo>
                  <a:cubicBezTo>
                    <a:pt x="5" y="9"/>
                    <a:pt x="6" y="5"/>
                    <a:pt x="7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9" name="Freeform 20">
              <a:extLst>
                <a:ext uri="{FF2B5EF4-FFF2-40B4-BE49-F238E27FC236}">
                  <a16:creationId xmlns:a16="http://schemas.microsoft.com/office/drawing/2014/main" id="{409CFE8C-FB87-46A8-852A-E0CA91785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1658"/>
              <a:ext cx="522" cy="1933"/>
            </a:xfrm>
            <a:custGeom>
              <a:avLst/>
              <a:gdLst>
                <a:gd name="T0" fmla="*/ 140 w 220"/>
                <a:gd name="T1" fmla="*/ 36 h 814"/>
                <a:gd name="T2" fmla="*/ 0 w 220"/>
                <a:gd name="T3" fmla="*/ 801 h 814"/>
                <a:gd name="T4" fmla="*/ 70 w 220"/>
                <a:gd name="T5" fmla="*/ 814 h 814"/>
                <a:gd name="T6" fmla="*/ 216 w 220"/>
                <a:gd name="T7" fmla="*/ 50 h 814"/>
                <a:gd name="T8" fmla="*/ 188 w 220"/>
                <a:gd name="T9" fmla="*/ 6 h 814"/>
                <a:gd name="T10" fmla="*/ 188 w 220"/>
                <a:gd name="T11" fmla="*/ 6 h 814"/>
                <a:gd name="T12" fmla="*/ 140 w 220"/>
                <a:gd name="T13" fmla="*/ 36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814">
                  <a:moveTo>
                    <a:pt x="140" y="36"/>
                  </a:moveTo>
                  <a:cubicBezTo>
                    <a:pt x="123" y="128"/>
                    <a:pt x="0" y="801"/>
                    <a:pt x="0" y="801"/>
                  </a:cubicBezTo>
                  <a:cubicBezTo>
                    <a:pt x="70" y="814"/>
                    <a:pt x="70" y="814"/>
                    <a:pt x="70" y="814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20" y="30"/>
                    <a:pt x="208" y="11"/>
                    <a:pt x="188" y="6"/>
                  </a:cubicBezTo>
                  <a:cubicBezTo>
                    <a:pt x="188" y="6"/>
                    <a:pt x="188" y="6"/>
                    <a:pt x="188" y="6"/>
                  </a:cubicBezTo>
                  <a:cubicBezTo>
                    <a:pt x="166" y="0"/>
                    <a:pt x="144" y="14"/>
                    <a:pt x="140" y="36"/>
                  </a:cubicBez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0" name="Freeform 21">
              <a:extLst>
                <a:ext uri="{FF2B5EF4-FFF2-40B4-BE49-F238E27FC236}">
                  <a16:creationId xmlns:a16="http://schemas.microsoft.com/office/drawing/2014/main" id="{2DD5A219-BB25-4649-A166-7CBAA399B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" y="1536"/>
              <a:ext cx="116" cy="171"/>
            </a:xfrm>
            <a:custGeom>
              <a:avLst/>
              <a:gdLst>
                <a:gd name="T0" fmla="*/ 0 w 49"/>
                <a:gd name="T1" fmla="*/ 65 h 72"/>
                <a:gd name="T2" fmla="*/ 11 w 49"/>
                <a:gd name="T3" fmla="*/ 16 h 72"/>
                <a:gd name="T4" fmla="*/ 33 w 49"/>
                <a:gd name="T5" fmla="*/ 2 h 72"/>
                <a:gd name="T6" fmla="*/ 47 w 49"/>
                <a:gd name="T7" fmla="*/ 24 h 72"/>
                <a:gd name="T8" fmla="*/ 36 w 49"/>
                <a:gd name="T9" fmla="*/ 72 h 72"/>
                <a:gd name="T10" fmla="*/ 0 w 49"/>
                <a:gd name="T11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72">
                  <a:moveTo>
                    <a:pt x="0" y="65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4" y="6"/>
                    <a:pt x="23" y="0"/>
                    <a:pt x="33" y="2"/>
                  </a:cubicBezTo>
                  <a:cubicBezTo>
                    <a:pt x="43" y="4"/>
                    <a:pt x="49" y="14"/>
                    <a:pt x="47" y="24"/>
                  </a:cubicBezTo>
                  <a:cubicBezTo>
                    <a:pt x="36" y="72"/>
                    <a:pt x="36" y="72"/>
                    <a:pt x="36" y="72"/>
                  </a:cubicBezTo>
                  <a:lnTo>
                    <a:pt x="0" y="65"/>
                  </a:ln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1" name="Freeform 22">
              <a:extLst>
                <a:ext uri="{FF2B5EF4-FFF2-40B4-BE49-F238E27FC236}">
                  <a16:creationId xmlns:a16="http://schemas.microsoft.com/office/drawing/2014/main" id="{21FDD54E-4D22-429D-A298-B52121440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1898"/>
              <a:ext cx="171" cy="49"/>
            </a:xfrm>
            <a:custGeom>
              <a:avLst/>
              <a:gdLst>
                <a:gd name="T0" fmla="*/ 72 w 72"/>
                <a:gd name="T1" fmla="*/ 20 h 21"/>
                <a:gd name="T2" fmla="*/ 36 w 72"/>
                <a:gd name="T3" fmla="*/ 13 h 21"/>
                <a:gd name="T4" fmla="*/ 1 w 72"/>
                <a:gd name="T5" fmla="*/ 1 h 21"/>
                <a:gd name="T6" fmla="*/ 37 w 72"/>
                <a:gd name="T7" fmla="*/ 8 h 21"/>
                <a:gd name="T8" fmla="*/ 72 w 72"/>
                <a:gd name="T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21">
                  <a:moveTo>
                    <a:pt x="72" y="20"/>
                  </a:moveTo>
                  <a:cubicBezTo>
                    <a:pt x="72" y="21"/>
                    <a:pt x="55" y="18"/>
                    <a:pt x="36" y="13"/>
                  </a:cubicBezTo>
                  <a:cubicBezTo>
                    <a:pt x="16" y="8"/>
                    <a:pt x="0" y="3"/>
                    <a:pt x="1" y="1"/>
                  </a:cubicBezTo>
                  <a:cubicBezTo>
                    <a:pt x="1" y="0"/>
                    <a:pt x="17" y="3"/>
                    <a:pt x="37" y="8"/>
                  </a:cubicBezTo>
                  <a:cubicBezTo>
                    <a:pt x="57" y="13"/>
                    <a:pt x="72" y="18"/>
                    <a:pt x="72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2" name="Freeform 23">
              <a:extLst>
                <a:ext uri="{FF2B5EF4-FFF2-40B4-BE49-F238E27FC236}">
                  <a16:creationId xmlns:a16="http://schemas.microsoft.com/office/drawing/2014/main" id="{5DB26E2E-CA1B-4D04-B759-F041EAF3D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" y="1658"/>
              <a:ext cx="238" cy="430"/>
            </a:xfrm>
            <a:custGeom>
              <a:avLst/>
              <a:gdLst>
                <a:gd name="T0" fmla="*/ 1 w 100"/>
                <a:gd name="T1" fmla="*/ 181 h 181"/>
                <a:gd name="T2" fmla="*/ 4 w 100"/>
                <a:gd name="T3" fmla="*/ 147 h 181"/>
                <a:gd name="T4" fmla="*/ 17 w 100"/>
                <a:gd name="T5" fmla="*/ 64 h 181"/>
                <a:gd name="T6" fmla="*/ 33 w 100"/>
                <a:gd name="T7" fmla="*/ 21 h 181"/>
                <a:gd name="T8" fmla="*/ 66 w 100"/>
                <a:gd name="T9" fmla="*/ 1 h 181"/>
                <a:gd name="T10" fmla="*/ 92 w 100"/>
                <a:gd name="T11" fmla="*/ 5 h 181"/>
                <a:gd name="T12" fmla="*/ 100 w 100"/>
                <a:gd name="T13" fmla="*/ 10 h 181"/>
                <a:gd name="T14" fmla="*/ 91 w 100"/>
                <a:gd name="T15" fmla="*/ 7 h 181"/>
                <a:gd name="T16" fmla="*/ 67 w 100"/>
                <a:gd name="T17" fmla="*/ 5 h 181"/>
                <a:gd name="T18" fmla="*/ 37 w 100"/>
                <a:gd name="T19" fmla="*/ 24 h 181"/>
                <a:gd name="T20" fmla="*/ 23 w 100"/>
                <a:gd name="T21" fmla="*/ 66 h 181"/>
                <a:gd name="T22" fmla="*/ 7 w 100"/>
                <a:gd name="T23" fmla="*/ 147 h 181"/>
                <a:gd name="T24" fmla="*/ 1 w 100"/>
                <a:gd name="T25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81">
                  <a:moveTo>
                    <a:pt x="1" y="181"/>
                  </a:moveTo>
                  <a:cubicBezTo>
                    <a:pt x="0" y="181"/>
                    <a:pt x="1" y="168"/>
                    <a:pt x="4" y="147"/>
                  </a:cubicBezTo>
                  <a:cubicBezTo>
                    <a:pt x="6" y="125"/>
                    <a:pt x="11" y="96"/>
                    <a:pt x="17" y="64"/>
                  </a:cubicBezTo>
                  <a:cubicBezTo>
                    <a:pt x="21" y="49"/>
                    <a:pt x="24" y="33"/>
                    <a:pt x="33" y="21"/>
                  </a:cubicBezTo>
                  <a:cubicBezTo>
                    <a:pt x="42" y="9"/>
                    <a:pt x="55" y="3"/>
                    <a:pt x="66" y="1"/>
                  </a:cubicBezTo>
                  <a:cubicBezTo>
                    <a:pt x="77" y="0"/>
                    <a:pt x="86" y="3"/>
                    <a:pt x="92" y="5"/>
                  </a:cubicBezTo>
                  <a:cubicBezTo>
                    <a:pt x="97" y="7"/>
                    <a:pt x="100" y="10"/>
                    <a:pt x="100" y="10"/>
                  </a:cubicBezTo>
                  <a:cubicBezTo>
                    <a:pt x="99" y="10"/>
                    <a:pt x="97" y="9"/>
                    <a:pt x="91" y="7"/>
                  </a:cubicBezTo>
                  <a:cubicBezTo>
                    <a:pt x="85" y="5"/>
                    <a:pt x="77" y="3"/>
                    <a:pt x="67" y="5"/>
                  </a:cubicBezTo>
                  <a:cubicBezTo>
                    <a:pt x="57" y="7"/>
                    <a:pt x="45" y="13"/>
                    <a:pt x="37" y="24"/>
                  </a:cubicBezTo>
                  <a:cubicBezTo>
                    <a:pt x="29" y="35"/>
                    <a:pt x="26" y="50"/>
                    <a:pt x="23" y="66"/>
                  </a:cubicBezTo>
                  <a:cubicBezTo>
                    <a:pt x="16" y="97"/>
                    <a:pt x="11" y="126"/>
                    <a:pt x="7" y="147"/>
                  </a:cubicBezTo>
                  <a:cubicBezTo>
                    <a:pt x="4" y="168"/>
                    <a:pt x="2" y="181"/>
                    <a:pt x="1" y="18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3" name="Freeform 24">
              <a:extLst>
                <a:ext uri="{FF2B5EF4-FFF2-40B4-BE49-F238E27FC236}">
                  <a16:creationId xmlns:a16="http://schemas.microsoft.com/office/drawing/2014/main" id="{D20305C9-9ADC-4FB4-AE6A-129C706F6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3560"/>
              <a:ext cx="166" cy="250"/>
            </a:xfrm>
            <a:custGeom>
              <a:avLst/>
              <a:gdLst>
                <a:gd name="T0" fmla="*/ 0 w 70"/>
                <a:gd name="T1" fmla="*/ 0 h 105"/>
                <a:gd name="T2" fmla="*/ 14 w 70"/>
                <a:gd name="T3" fmla="*/ 102 h 105"/>
                <a:gd name="T4" fmla="*/ 70 w 70"/>
                <a:gd name="T5" fmla="*/ 13 h 105"/>
                <a:gd name="T6" fmla="*/ 0 w 70"/>
                <a:gd name="T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105">
                  <a:moveTo>
                    <a:pt x="0" y="0"/>
                  </a:moveTo>
                  <a:cubicBezTo>
                    <a:pt x="0" y="0"/>
                    <a:pt x="0" y="100"/>
                    <a:pt x="14" y="102"/>
                  </a:cubicBezTo>
                  <a:cubicBezTo>
                    <a:pt x="30" y="105"/>
                    <a:pt x="70" y="13"/>
                    <a:pt x="70" y="1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4" name="Freeform 25">
              <a:extLst>
                <a:ext uri="{FF2B5EF4-FFF2-40B4-BE49-F238E27FC236}">
                  <a16:creationId xmlns:a16="http://schemas.microsoft.com/office/drawing/2014/main" id="{C7482564-B876-4BDA-A6F9-57F2E9EDE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3555"/>
              <a:ext cx="159" cy="41"/>
            </a:xfrm>
            <a:custGeom>
              <a:avLst/>
              <a:gdLst>
                <a:gd name="T0" fmla="*/ 66 w 67"/>
                <a:gd name="T1" fmla="*/ 16 h 17"/>
                <a:gd name="T2" fmla="*/ 34 w 67"/>
                <a:gd name="T3" fmla="*/ 5 h 17"/>
                <a:gd name="T4" fmla="*/ 0 w 67"/>
                <a:gd name="T5" fmla="*/ 1 h 17"/>
                <a:gd name="T6" fmla="*/ 10 w 67"/>
                <a:gd name="T7" fmla="*/ 0 h 17"/>
                <a:gd name="T8" fmla="*/ 34 w 67"/>
                <a:gd name="T9" fmla="*/ 3 h 17"/>
                <a:gd name="T10" fmla="*/ 58 w 67"/>
                <a:gd name="T11" fmla="*/ 11 h 17"/>
                <a:gd name="T12" fmla="*/ 66 w 67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17">
                  <a:moveTo>
                    <a:pt x="66" y="16"/>
                  </a:moveTo>
                  <a:cubicBezTo>
                    <a:pt x="66" y="17"/>
                    <a:pt x="53" y="9"/>
                    <a:pt x="34" y="5"/>
                  </a:cubicBezTo>
                  <a:cubicBezTo>
                    <a:pt x="15" y="1"/>
                    <a:pt x="0" y="2"/>
                    <a:pt x="0" y="1"/>
                  </a:cubicBezTo>
                  <a:cubicBezTo>
                    <a:pt x="0" y="1"/>
                    <a:pt x="3" y="1"/>
                    <a:pt x="10" y="0"/>
                  </a:cubicBezTo>
                  <a:cubicBezTo>
                    <a:pt x="16" y="0"/>
                    <a:pt x="25" y="1"/>
                    <a:pt x="34" y="3"/>
                  </a:cubicBezTo>
                  <a:cubicBezTo>
                    <a:pt x="44" y="5"/>
                    <a:pt x="52" y="8"/>
                    <a:pt x="58" y="11"/>
                  </a:cubicBezTo>
                  <a:cubicBezTo>
                    <a:pt x="63" y="14"/>
                    <a:pt x="67" y="16"/>
                    <a:pt x="66" y="1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5" name="Freeform 26">
              <a:extLst>
                <a:ext uri="{FF2B5EF4-FFF2-40B4-BE49-F238E27FC236}">
                  <a16:creationId xmlns:a16="http://schemas.microsoft.com/office/drawing/2014/main" id="{A3954D25-D3DB-43B9-A5A8-ACFC79D82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74"/>
              <a:ext cx="2372" cy="3293"/>
            </a:xfrm>
            <a:custGeom>
              <a:avLst/>
              <a:gdLst>
                <a:gd name="T0" fmla="*/ 0 w 2372"/>
                <a:gd name="T1" fmla="*/ 0 h 3293"/>
                <a:gd name="T2" fmla="*/ 0 w 2372"/>
                <a:gd name="T3" fmla="*/ 3293 h 3293"/>
                <a:gd name="T4" fmla="*/ 2372 w 2372"/>
                <a:gd name="T5" fmla="*/ 3293 h 3293"/>
                <a:gd name="T6" fmla="*/ 2298 w 2372"/>
                <a:gd name="T7" fmla="*/ 74 h 3293"/>
                <a:gd name="T8" fmla="*/ 0 w 2372"/>
                <a:gd name="T9" fmla="*/ 0 h 3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2" h="3293">
                  <a:moveTo>
                    <a:pt x="0" y="0"/>
                  </a:moveTo>
                  <a:lnTo>
                    <a:pt x="0" y="3293"/>
                  </a:lnTo>
                  <a:lnTo>
                    <a:pt x="2372" y="3293"/>
                  </a:lnTo>
                  <a:lnTo>
                    <a:pt x="2298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6" name="Freeform 27">
              <a:extLst>
                <a:ext uri="{FF2B5EF4-FFF2-40B4-BE49-F238E27FC236}">
                  <a16:creationId xmlns:a16="http://schemas.microsoft.com/office/drawing/2014/main" id="{B3D2C772-AAD4-4EC9-8E99-3CBC3CE23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74"/>
              <a:ext cx="2372" cy="3293"/>
            </a:xfrm>
            <a:custGeom>
              <a:avLst/>
              <a:gdLst>
                <a:gd name="T0" fmla="*/ 0 w 2372"/>
                <a:gd name="T1" fmla="*/ 0 h 3293"/>
                <a:gd name="T2" fmla="*/ 0 w 2372"/>
                <a:gd name="T3" fmla="*/ 3293 h 3293"/>
                <a:gd name="T4" fmla="*/ 2372 w 2372"/>
                <a:gd name="T5" fmla="*/ 3293 h 3293"/>
                <a:gd name="T6" fmla="*/ 2298 w 2372"/>
                <a:gd name="T7" fmla="*/ 74 h 3293"/>
                <a:gd name="T8" fmla="*/ 0 w 2372"/>
                <a:gd name="T9" fmla="*/ 0 h 3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2" h="3293">
                  <a:moveTo>
                    <a:pt x="0" y="0"/>
                  </a:moveTo>
                  <a:lnTo>
                    <a:pt x="0" y="3293"/>
                  </a:lnTo>
                  <a:lnTo>
                    <a:pt x="2372" y="3293"/>
                  </a:lnTo>
                  <a:lnTo>
                    <a:pt x="2298" y="7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7" name="Freeform 28">
              <a:extLst>
                <a:ext uri="{FF2B5EF4-FFF2-40B4-BE49-F238E27FC236}">
                  <a16:creationId xmlns:a16="http://schemas.microsoft.com/office/drawing/2014/main" id="{486F5621-F074-460C-BBEA-A27E7AA74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78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78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78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8" name="Freeform 29">
              <a:extLst>
                <a:ext uri="{FF2B5EF4-FFF2-40B4-BE49-F238E27FC236}">
                  <a16:creationId xmlns:a16="http://schemas.microsoft.com/office/drawing/2014/main" id="{C9FE2E84-4ADB-406D-B04F-6712F62BA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78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78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78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7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9" name="Freeform 30">
              <a:extLst>
                <a:ext uri="{FF2B5EF4-FFF2-40B4-BE49-F238E27FC236}">
                  <a16:creationId xmlns:a16="http://schemas.microsoft.com/office/drawing/2014/main" id="{3C63BAFF-0513-4E72-83E4-3F5F13501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574"/>
              <a:ext cx="2382" cy="3283"/>
            </a:xfrm>
            <a:custGeom>
              <a:avLst/>
              <a:gdLst>
                <a:gd name="T0" fmla="*/ 10 w 2382"/>
                <a:gd name="T1" fmla="*/ 0 h 3283"/>
                <a:gd name="T2" fmla="*/ 0 w 2382"/>
                <a:gd name="T3" fmla="*/ 3271 h 3283"/>
                <a:gd name="T4" fmla="*/ 2382 w 2382"/>
                <a:gd name="T5" fmla="*/ 3283 h 3283"/>
                <a:gd name="T6" fmla="*/ 2308 w 2382"/>
                <a:gd name="T7" fmla="*/ 74 h 3283"/>
                <a:gd name="T8" fmla="*/ 10 w 2382"/>
                <a:gd name="T9" fmla="*/ 0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2" h="3283">
                  <a:moveTo>
                    <a:pt x="10" y="0"/>
                  </a:moveTo>
                  <a:lnTo>
                    <a:pt x="0" y="3271"/>
                  </a:lnTo>
                  <a:lnTo>
                    <a:pt x="2382" y="3283"/>
                  </a:lnTo>
                  <a:lnTo>
                    <a:pt x="2308" y="7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0" name="Freeform 31">
              <a:extLst>
                <a:ext uri="{FF2B5EF4-FFF2-40B4-BE49-F238E27FC236}">
                  <a16:creationId xmlns:a16="http://schemas.microsoft.com/office/drawing/2014/main" id="{0D6D5434-A866-4714-BFBB-E23784A2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574"/>
              <a:ext cx="2382" cy="3283"/>
            </a:xfrm>
            <a:custGeom>
              <a:avLst/>
              <a:gdLst>
                <a:gd name="T0" fmla="*/ 10 w 2382"/>
                <a:gd name="T1" fmla="*/ 0 h 3283"/>
                <a:gd name="T2" fmla="*/ 0 w 2382"/>
                <a:gd name="T3" fmla="*/ 3271 h 3283"/>
                <a:gd name="T4" fmla="*/ 2382 w 2382"/>
                <a:gd name="T5" fmla="*/ 3283 h 3283"/>
                <a:gd name="T6" fmla="*/ 2308 w 2382"/>
                <a:gd name="T7" fmla="*/ 74 h 3283"/>
                <a:gd name="T8" fmla="*/ 10 w 2382"/>
                <a:gd name="T9" fmla="*/ 0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2" h="3283">
                  <a:moveTo>
                    <a:pt x="10" y="0"/>
                  </a:moveTo>
                  <a:lnTo>
                    <a:pt x="0" y="3271"/>
                  </a:lnTo>
                  <a:lnTo>
                    <a:pt x="2382" y="3283"/>
                  </a:lnTo>
                  <a:lnTo>
                    <a:pt x="2308" y="74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1" name="Freeform 32">
              <a:extLst>
                <a:ext uri="{FF2B5EF4-FFF2-40B4-BE49-F238E27FC236}">
                  <a16:creationId xmlns:a16="http://schemas.microsoft.com/office/drawing/2014/main" id="{E863B812-42C8-4BE8-AC06-58AF0B535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92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92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92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2" name="Freeform 33">
              <a:extLst>
                <a:ext uri="{FF2B5EF4-FFF2-40B4-BE49-F238E27FC236}">
                  <a16:creationId xmlns:a16="http://schemas.microsoft.com/office/drawing/2014/main" id="{0E1F1008-D461-4A7B-8AF0-6A09B4C48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92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92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92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9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3" name="Freeform 34">
              <a:extLst>
                <a:ext uri="{FF2B5EF4-FFF2-40B4-BE49-F238E27FC236}">
                  <a16:creationId xmlns:a16="http://schemas.microsoft.com/office/drawing/2014/main" id="{BD42992A-DDDE-4392-BD96-567C01890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555"/>
              <a:ext cx="2432" cy="3190"/>
            </a:xfrm>
            <a:custGeom>
              <a:avLst/>
              <a:gdLst>
                <a:gd name="T0" fmla="*/ 2432 w 2432"/>
                <a:gd name="T1" fmla="*/ 3190 h 3190"/>
                <a:gd name="T2" fmla="*/ 159 w 2432"/>
                <a:gd name="T3" fmla="*/ 3190 h 3190"/>
                <a:gd name="T4" fmla="*/ 0 w 2432"/>
                <a:gd name="T5" fmla="*/ 0 h 3190"/>
                <a:gd name="T6" fmla="*/ 2240 w 2432"/>
                <a:gd name="T7" fmla="*/ 0 h 3190"/>
                <a:gd name="T8" fmla="*/ 2432 w 2432"/>
                <a:gd name="T9" fmla="*/ 3190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2" h="3190">
                  <a:moveTo>
                    <a:pt x="2432" y="3190"/>
                  </a:moveTo>
                  <a:lnTo>
                    <a:pt x="159" y="3190"/>
                  </a:lnTo>
                  <a:lnTo>
                    <a:pt x="0" y="0"/>
                  </a:lnTo>
                  <a:lnTo>
                    <a:pt x="2240" y="0"/>
                  </a:lnTo>
                  <a:lnTo>
                    <a:pt x="2432" y="319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4" name="Freeform 35">
              <a:extLst>
                <a:ext uri="{FF2B5EF4-FFF2-40B4-BE49-F238E27FC236}">
                  <a16:creationId xmlns:a16="http://schemas.microsoft.com/office/drawing/2014/main" id="{D851B238-CE9C-401F-8086-456B97AD8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555"/>
              <a:ext cx="2432" cy="3190"/>
            </a:xfrm>
            <a:custGeom>
              <a:avLst/>
              <a:gdLst>
                <a:gd name="T0" fmla="*/ 2432 w 2432"/>
                <a:gd name="T1" fmla="*/ 3190 h 3190"/>
                <a:gd name="T2" fmla="*/ 159 w 2432"/>
                <a:gd name="T3" fmla="*/ 3190 h 3190"/>
                <a:gd name="T4" fmla="*/ 0 w 2432"/>
                <a:gd name="T5" fmla="*/ 0 h 3190"/>
                <a:gd name="T6" fmla="*/ 2240 w 2432"/>
                <a:gd name="T7" fmla="*/ 0 h 3190"/>
                <a:gd name="T8" fmla="*/ 2432 w 2432"/>
                <a:gd name="T9" fmla="*/ 3190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2" h="3190">
                  <a:moveTo>
                    <a:pt x="2432" y="3190"/>
                  </a:moveTo>
                  <a:lnTo>
                    <a:pt x="159" y="3190"/>
                  </a:lnTo>
                  <a:lnTo>
                    <a:pt x="0" y="0"/>
                  </a:lnTo>
                  <a:lnTo>
                    <a:pt x="2240" y="0"/>
                  </a:lnTo>
                  <a:lnTo>
                    <a:pt x="2432" y="31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5" name="Freeform 36">
              <a:extLst>
                <a:ext uri="{FF2B5EF4-FFF2-40B4-BE49-F238E27FC236}">
                  <a16:creationId xmlns:a16="http://schemas.microsoft.com/office/drawing/2014/main" id="{321B4152-CB49-4255-BF5F-7D3A8D3ED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553"/>
              <a:ext cx="2436" cy="3195"/>
            </a:xfrm>
            <a:custGeom>
              <a:avLst/>
              <a:gdLst>
                <a:gd name="T0" fmla="*/ 1026 w 1026"/>
                <a:gd name="T1" fmla="*/ 1344 h 1345"/>
                <a:gd name="T2" fmla="*/ 944 w 1026"/>
                <a:gd name="T3" fmla="*/ 1 h 1345"/>
                <a:gd name="T4" fmla="*/ 945 w 1026"/>
                <a:gd name="T5" fmla="*/ 2 h 1345"/>
                <a:gd name="T6" fmla="*/ 2 w 1026"/>
                <a:gd name="T7" fmla="*/ 2 h 1345"/>
                <a:gd name="T8" fmla="*/ 3 w 1026"/>
                <a:gd name="T9" fmla="*/ 1 h 1345"/>
                <a:gd name="T10" fmla="*/ 3 w 1026"/>
                <a:gd name="T11" fmla="*/ 7 h 1345"/>
                <a:gd name="T12" fmla="*/ 70 w 1026"/>
                <a:gd name="T13" fmla="*/ 1344 h 1345"/>
                <a:gd name="T14" fmla="*/ 69 w 1026"/>
                <a:gd name="T15" fmla="*/ 1343 h 1345"/>
                <a:gd name="T16" fmla="*/ 1026 w 1026"/>
                <a:gd name="T17" fmla="*/ 1344 h 1345"/>
                <a:gd name="T18" fmla="*/ 69 w 1026"/>
                <a:gd name="T19" fmla="*/ 1345 h 1345"/>
                <a:gd name="T20" fmla="*/ 69 w 1026"/>
                <a:gd name="T21" fmla="*/ 1345 h 1345"/>
                <a:gd name="T22" fmla="*/ 69 w 1026"/>
                <a:gd name="T23" fmla="*/ 1344 h 1345"/>
                <a:gd name="T24" fmla="*/ 1 w 1026"/>
                <a:gd name="T25" fmla="*/ 7 h 1345"/>
                <a:gd name="T26" fmla="*/ 0 w 1026"/>
                <a:gd name="T27" fmla="*/ 1 h 1345"/>
                <a:gd name="T28" fmla="*/ 0 w 1026"/>
                <a:gd name="T29" fmla="*/ 0 h 1345"/>
                <a:gd name="T30" fmla="*/ 2 w 1026"/>
                <a:gd name="T31" fmla="*/ 0 h 1345"/>
                <a:gd name="T32" fmla="*/ 945 w 1026"/>
                <a:gd name="T33" fmla="*/ 0 h 1345"/>
                <a:gd name="T34" fmla="*/ 946 w 1026"/>
                <a:gd name="T35" fmla="*/ 0 h 1345"/>
                <a:gd name="T36" fmla="*/ 946 w 1026"/>
                <a:gd name="T37" fmla="*/ 1 h 1345"/>
                <a:gd name="T38" fmla="*/ 1026 w 1026"/>
                <a:gd name="T39" fmla="*/ 1344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26" h="1345">
                  <a:moveTo>
                    <a:pt x="1026" y="1344"/>
                  </a:moveTo>
                  <a:cubicBezTo>
                    <a:pt x="1026" y="1336"/>
                    <a:pt x="993" y="794"/>
                    <a:pt x="944" y="1"/>
                  </a:cubicBezTo>
                  <a:cubicBezTo>
                    <a:pt x="945" y="2"/>
                    <a:pt x="945" y="2"/>
                    <a:pt x="945" y="2"/>
                  </a:cubicBezTo>
                  <a:cubicBezTo>
                    <a:pt x="659" y="2"/>
                    <a:pt x="339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3"/>
                    <a:pt x="3" y="5"/>
                    <a:pt x="3" y="7"/>
                  </a:cubicBezTo>
                  <a:cubicBezTo>
                    <a:pt x="28" y="507"/>
                    <a:pt x="51" y="971"/>
                    <a:pt x="70" y="1344"/>
                  </a:cubicBezTo>
                  <a:cubicBezTo>
                    <a:pt x="69" y="1343"/>
                    <a:pt x="69" y="1343"/>
                    <a:pt x="69" y="1343"/>
                  </a:cubicBezTo>
                  <a:cubicBezTo>
                    <a:pt x="650" y="1344"/>
                    <a:pt x="1019" y="1344"/>
                    <a:pt x="1026" y="1344"/>
                  </a:cubicBezTo>
                  <a:cubicBezTo>
                    <a:pt x="1019" y="1344"/>
                    <a:pt x="650" y="1345"/>
                    <a:pt x="69" y="1345"/>
                  </a:cubicBezTo>
                  <a:cubicBezTo>
                    <a:pt x="69" y="1345"/>
                    <a:pt x="69" y="1345"/>
                    <a:pt x="69" y="1345"/>
                  </a:cubicBezTo>
                  <a:cubicBezTo>
                    <a:pt x="69" y="1344"/>
                    <a:pt x="69" y="1344"/>
                    <a:pt x="69" y="1344"/>
                  </a:cubicBezTo>
                  <a:cubicBezTo>
                    <a:pt x="50" y="971"/>
                    <a:pt x="26" y="508"/>
                    <a:pt x="1" y="7"/>
                  </a:cubicBezTo>
                  <a:cubicBezTo>
                    <a:pt x="1" y="5"/>
                    <a:pt x="1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39" y="0"/>
                    <a:pt x="659" y="0"/>
                    <a:pt x="945" y="0"/>
                  </a:cubicBezTo>
                  <a:cubicBezTo>
                    <a:pt x="946" y="0"/>
                    <a:pt x="946" y="0"/>
                    <a:pt x="946" y="0"/>
                  </a:cubicBezTo>
                  <a:cubicBezTo>
                    <a:pt x="946" y="1"/>
                    <a:pt x="946" y="1"/>
                    <a:pt x="946" y="1"/>
                  </a:cubicBezTo>
                  <a:cubicBezTo>
                    <a:pt x="993" y="794"/>
                    <a:pt x="1026" y="1336"/>
                    <a:pt x="1026" y="134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" name="Freeform 37">
              <a:extLst>
                <a:ext uri="{FF2B5EF4-FFF2-40B4-BE49-F238E27FC236}">
                  <a16:creationId xmlns:a16="http://schemas.microsoft.com/office/drawing/2014/main" id="{A8528386-FC30-492A-9E8C-06D49E0C4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3282"/>
              <a:ext cx="2259" cy="29"/>
            </a:xfrm>
            <a:custGeom>
              <a:avLst/>
              <a:gdLst>
                <a:gd name="T0" fmla="*/ 951 w 951"/>
                <a:gd name="T1" fmla="*/ 1 h 12"/>
                <a:gd name="T2" fmla="*/ 476 w 951"/>
                <a:gd name="T3" fmla="*/ 7 h 12"/>
                <a:gd name="T4" fmla="*/ 0 w 951"/>
                <a:gd name="T5" fmla="*/ 11 h 12"/>
                <a:gd name="T6" fmla="*/ 476 w 951"/>
                <a:gd name="T7" fmla="*/ 5 h 12"/>
                <a:gd name="T8" fmla="*/ 951 w 951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1" h="12">
                  <a:moveTo>
                    <a:pt x="951" y="1"/>
                  </a:moveTo>
                  <a:cubicBezTo>
                    <a:pt x="951" y="2"/>
                    <a:pt x="738" y="4"/>
                    <a:pt x="476" y="7"/>
                  </a:cubicBezTo>
                  <a:cubicBezTo>
                    <a:pt x="213" y="10"/>
                    <a:pt x="0" y="12"/>
                    <a:pt x="0" y="11"/>
                  </a:cubicBezTo>
                  <a:cubicBezTo>
                    <a:pt x="0" y="11"/>
                    <a:pt x="213" y="8"/>
                    <a:pt x="476" y="5"/>
                  </a:cubicBezTo>
                  <a:cubicBezTo>
                    <a:pt x="738" y="2"/>
                    <a:pt x="951" y="0"/>
                    <a:pt x="951" y="1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7" name="Oval 38">
              <a:extLst>
                <a:ext uri="{FF2B5EF4-FFF2-40B4-BE49-F238E27FC236}">
                  <a16:creationId xmlns:a16="http://schemas.microsoft.com/office/drawing/2014/main" id="{5E858689-5FE0-43A4-8F21-0011F683CE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6" y="871"/>
              <a:ext cx="2244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8" name="Freeform 39">
              <a:extLst>
                <a:ext uri="{FF2B5EF4-FFF2-40B4-BE49-F238E27FC236}">
                  <a16:creationId xmlns:a16="http://schemas.microsoft.com/office/drawing/2014/main" id="{888B4509-D73C-4E23-B2A8-34D3E7BC1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3408"/>
              <a:ext cx="62" cy="126"/>
            </a:xfrm>
            <a:custGeom>
              <a:avLst/>
              <a:gdLst>
                <a:gd name="T0" fmla="*/ 1 w 26"/>
                <a:gd name="T1" fmla="*/ 53 h 53"/>
                <a:gd name="T2" fmla="*/ 12 w 26"/>
                <a:gd name="T3" fmla="*/ 26 h 53"/>
                <a:gd name="T4" fmla="*/ 25 w 26"/>
                <a:gd name="T5" fmla="*/ 0 h 53"/>
                <a:gd name="T6" fmla="*/ 14 w 26"/>
                <a:gd name="T7" fmla="*/ 27 h 53"/>
                <a:gd name="T8" fmla="*/ 1 w 26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53">
                  <a:moveTo>
                    <a:pt x="1" y="53"/>
                  </a:moveTo>
                  <a:cubicBezTo>
                    <a:pt x="0" y="52"/>
                    <a:pt x="5" y="40"/>
                    <a:pt x="12" y="26"/>
                  </a:cubicBezTo>
                  <a:cubicBezTo>
                    <a:pt x="19" y="12"/>
                    <a:pt x="25" y="0"/>
                    <a:pt x="25" y="0"/>
                  </a:cubicBezTo>
                  <a:cubicBezTo>
                    <a:pt x="26" y="1"/>
                    <a:pt x="21" y="12"/>
                    <a:pt x="14" y="27"/>
                  </a:cubicBezTo>
                  <a:cubicBezTo>
                    <a:pt x="7" y="41"/>
                    <a:pt x="1" y="53"/>
                    <a:pt x="1" y="53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9" name="Freeform 40">
              <a:extLst>
                <a:ext uri="{FF2B5EF4-FFF2-40B4-BE49-F238E27FC236}">
                  <a16:creationId xmlns:a16="http://schemas.microsoft.com/office/drawing/2014/main" id="{FD7106BD-FE03-4721-9611-6EE2DB892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" y="3544"/>
              <a:ext cx="111" cy="85"/>
            </a:xfrm>
            <a:custGeom>
              <a:avLst/>
              <a:gdLst>
                <a:gd name="T0" fmla="*/ 46 w 47"/>
                <a:gd name="T1" fmla="*/ 36 h 36"/>
                <a:gd name="T2" fmla="*/ 23 w 47"/>
                <a:gd name="T3" fmla="*/ 19 h 36"/>
                <a:gd name="T4" fmla="*/ 1 w 47"/>
                <a:gd name="T5" fmla="*/ 0 h 36"/>
                <a:gd name="T6" fmla="*/ 24 w 47"/>
                <a:gd name="T7" fmla="*/ 17 h 36"/>
                <a:gd name="T8" fmla="*/ 46 w 47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6" y="36"/>
                  </a:moveTo>
                  <a:cubicBezTo>
                    <a:pt x="46" y="36"/>
                    <a:pt x="35" y="29"/>
                    <a:pt x="23" y="19"/>
                  </a:cubicBezTo>
                  <a:cubicBezTo>
                    <a:pt x="10" y="9"/>
                    <a:pt x="0" y="1"/>
                    <a:pt x="1" y="0"/>
                  </a:cubicBezTo>
                  <a:cubicBezTo>
                    <a:pt x="1" y="0"/>
                    <a:pt x="12" y="7"/>
                    <a:pt x="24" y="17"/>
                  </a:cubicBezTo>
                  <a:cubicBezTo>
                    <a:pt x="37" y="27"/>
                    <a:pt x="47" y="35"/>
                    <a:pt x="46" y="36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0" name="Freeform 41">
              <a:extLst>
                <a:ext uri="{FF2B5EF4-FFF2-40B4-BE49-F238E27FC236}">
                  <a16:creationId xmlns:a16="http://schemas.microsoft.com/office/drawing/2014/main" id="{6526AAC0-129D-470F-A7CC-22D04486A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2" y="3392"/>
              <a:ext cx="114" cy="125"/>
            </a:xfrm>
            <a:custGeom>
              <a:avLst/>
              <a:gdLst>
                <a:gd name="T0" fmla="*/ 47 w 48"/>
                <a:gd name="T1" fmla="*/ 1 h 53"/>
                <a:gd name="T2" fmla="*/ 24 w 48"/>
                <a:gd name="T3" fmla="*/ 27 h 53"/>
                <a:gd name="T4" fmla="*/ 0 w 48"/>
                <a:gd name="T5" fmla="*/ 53 h 53"/>
                <a:gd name="T6" fmla="*/ 23 w 48"/>
                <a:gd name="T7" fmla="*/ 26 h 53"/>
                <a:gd name="T8" fmla="*/ 47 w 48"/>
                <a:gd name="T9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3">
                  <a:moveTo>
                    <a:pt x="47" y="1"/>
                  </a:moveTo>
                  <a:cubicBezTo>
                    <a:pt x="48" y="1"/>
                    <a:pt x="38" y="13"/>
                    <a:pt x="24" y="27"/>
                  </a:cubicBezTo>
                  <a:cubicBezTo>
                    <a:pt x="11" y="42"/>
                    <a:pt x="0" y="53"/>
                    <a:pt x="0" y="53"/>
                  </a:cubicBezTo>
                  <a:cubicBezTo>
                    <a:pt x="0" y="52"/>
                    <a:pt x="10" y="40"/>
                    <a:pt x="23" y="26"/>
                  </a:cubicBezTo>
                  <a:cubicBezTo>
                    <a:pt x="36" y="11"/>
                    <a:pt x="47" y="0"/>
                    <a:pt x="47" y="1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1" name="Freeform 42">
              <a:extLst>
                <a:ext uri="{FF2B5EF4-FFF2-40B4-BE49-F238E27FC236}">
                  <a16:creationId xmlns:a16="http://schemas.microsoft.com/office/drawing/2014/main" id="{0220EA52-C53B-4BED-BAAD-65687856C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" y="3525"/>
              <a:ext cx="76" cy="87"/>
            </a:xfrm>
            <a:custGeom>
              <a:avLst/>
              <a:gdLst>
                <a:gd name="T0" fmla="*/ 31 w 32"/>
                <a:gd name="T1" fmla="*/ 37 h 37"/>
                <a:gd name="T2" fmla="*/ 15 w 32"/>
                <a:gd name="T3" fmla="*/ 20 h 37"/>
                <a:gd name="T4" fmla="*/ 0 w 32"/>
                <a:gd name="T5" fmla="*/ 1 h 37"/>
                <a:gd name="T6" fmla="*/ 16 w 32"/>
                <a:gd name="T7" fmla="*/ 18 h 37"/>
                <a:gd name="T8" fmla="*/ 31 w 3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7">
                  <a:moveTo>
                    <a:pt x="31" y="37"/>
                  </a:moveTo>
                  <a:cubicBezTo>
                    <a:pt x="31" y="37"/>
                    <a:pt x="24" y="30"/>
                    <a:pt x="15" y="20"/>
                  </a:cubicBezTo>
                  <a:cubicBezTo>
                    <a:pt x="6" y="9"/>
                    <a:pt x="0" y="1"/>
                    <a:pt x="0" y="1"/>
                  </a:cubicBezTo>
                  <a:cubicBezTo>
                    <a:pt x="0" y="0"/>
                    <a:pt x="8" y="8"/>
                    <a:pt x="16" y="18"/>
                  </a:cubicBezTo>
                  <a:cubicBezTo>
                    <a:pt x="25" y="28"/>
                    <a:pt x="32" y="37"/>
                    <a:pt x="31" y="37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2" name="Freeform 43">
              <a:extLst>
                <a:ext uri="{FF2B5EF4-FFF2-40B4-BE49-F238E27FC236}">
                  <a16:creationId xmlns:a16="http://schemas.microsoft.com/office/drawing/2014/main" id="{F3A6A369-8779-4070-BFB3-B185B8F98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" y="3425"/>
              <a:ext cx="140" cy="28"/>
            </a:xfrm>
            <a:custGeom>
              <a:avLst/>
              <a:gdLst>
                <a:gd name="T0" fmla="*/ 59 w 59"/>
                <a:gd name="T1" fmla="*/ 0 h 12"/>
                <a:gd name="T2" fmla="*/ 30 w 59"/>
                <a:gd name="T3" fmla="*/ 7 h 12"/>
                <a:gd name="T4" fmla="*/ 0 w 59"/>
                <a:gd name="T5" fmla="*/ 12 h 12"/>
                <a:gd name="T6" fmla="*/ 30 w 59"/>
                <a:gd name="T7" fmla="*/ 5 h 12"/>
                <a:gd name="T8" fmla="*/ 59 w 5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2">
                  <a:moveTo>
                    <a:pt x="59" y="0"/>
                  </a:moveTo>
                  <a:cubicBezTo>
                    <a:pt x="59" y="1"/>
                    <a:pt x="46" y="4"/>
                    <a:pt x="30" y="7"/>
                  </a:cubicBezTo>
                  <a:cubicBezTo>
                    <a:pt x="14" y="10"/>
                    <a:pt x="0" y="12"/>
                    <a:pt x="0" y="12"/>
                  </a:cubicBezTo>
                  <a:cubicBezTo>
                    <a:pt x="0" y="11"/>
                    <a:pt x="13" y="8"/>
                    <a:pt x="30" y="5"/>
                  </a:cubicBezTo>
                  <a:cubicBezTo>
                    <a:pt x="46" y="2"/>
                    <a:pt x="59" y="0"/>
                    <a:pt x="59" y="0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3" name="Freeform 44">
              <a:extLst>
                <a:ext uri="{FF2B5EF4-FFF2-40B4-BE49-F238E27FC236}">
                  <a16:creationId xmlns:a16="http://schemas.microsoft.com/office/drawing/2014/main" id="{83A854E1-231D-4B79-88F3-A81DAA1A3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" y="3430"/>
              <a:ext cx="60" cy="140"/>
            </a:xfrm>
            <a:custGeom>
              <a:avLst/>
              <a:gdLst>
                <a:gd name="T0" fmla="*/ 0 w 25"/>
                <a:gd name="T1" fmla="*/ 59 h 59"/>
                <a:gd name="T2" fmla="*/ 2 w 25"/>
                <a:gd name="T3" fmla="*/ 50 h 59"/>
                <a:gd name="T4" fmla="*/ 10 w 25"/>
                <a:gd name="T5" fmla="*/ 29 h 59"/>
                <a:gd name="T6" fmla="*/ 20 w 25"/>
                <a:gd name="T7" fmla="*/ 8 h 59"/>
                <a:gd name="T8" fmla="*/ 25 w 25"/>
                <a:gd name="T9" fmla="*/ 1 h 59"/>
                <a:gd name="T10" fmla="*/ 21 w 25"/>
                <a:gd name="T11" fmla="*/ 9 h 59"/>
                <a:gd name="T12" fmla="*/ 11 w 25"/>
                <a:gd name="T13" fmla="*/ 30 h 59"/>
                <a:gd name="T14" fmla="*/ 3 w 25"/>
                <a:gd name="T15" fmla="*/ 51 h 59"/>
                <a:gd name="T16" fmla="*/ 0 w 25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59">
                  <a:moveTo>
                    <a:pt x="0" y="59"/>
                  </a:moveTo>
                  <a:cubicBezTo>
                    <a:pt x="0" y="59"/>
                    <a:pt x="0" y="56"/>
                    <a:pt x="2" y="50"/>
                  </a:cubicBezTo>
                  <a:cubicBezTo>
                    <a:pt x="4" y="45"/>
                    <a:pt x="6" y="37"/>
                    <a:pt x="10" y="29"/>
                  </a:cubicBezTo>
                  <a:cubicBezTo>
                    <a:pt x="13" y="21"/>
                    <a:pt x="17" y="13"/>
                    <a:pt x="20" y="8"/>
                  </a:cubicBezTo>
                  <a:cubicBezTo>
                    <a:pt x="23" y="3"/>
                    <a:pt x="25" y="0"/>
                    <a:pt x="25" y="1"/>
                  </a:cubicBezTo>
                  <a:cubicBezTo>
                    <a:pt x="25" y="1"/>
                    <a:pt x="23" y="4"/>
                    <a:pt x="21" y="9"/>
                  </a:cubicBezTo>
                  <a:cubicBezTo>
                    <a:pt x="18" y="14"/>
                    <a:pt x="15" y="21"/>
                    <a:pt x="11" y="30"/>
                  </a:cubicBezTo>
                  <a:cubicBezTo>
                    <a:pt x="8" y="38"/>
                    <a:pt x="5" y="45"/>
                    <a:pt x="3" y="51"/>
                  </a:cubicBezTo>
                  <a:cubicBezTo>
                    <a:pt x="1" y="56"/>
                    <a:pt x="0" y="59"/>
                    <a:pt x="0" y="59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214" name="Freeform 45">
              <a:extLst>
                <a:ext uri="{FF2B5EF4-FFF2-40B4-BE49-F238E27FC236}">
                  <a16:creationId xmlns:a16="http://schemas.microsoft.com/office/drawing/2014/main" id="{343DD6CC-1CBC-4465-B92D-E1166ED8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1" y="3634"/>
              <a:ext cx="97" cy="40"/>
            </a:xfrm>
            <a:custGeom>
              <a:avLst/>
              <a:gdLst>
                <a:gd name="T0" fmla="*/ 41 w 41"/>
                <a:gd name="T1" fmla="*/ 16 h 17"/>
                <a:gd name="T2" fmla="*/ 20 w 41"/>
                <a:gd name="T3" fmla="*/ 9 h 17"/>
                <a:gd name="T4" fmla="*/ 0 w 41"/>
                <a:gd name="T5" fmla="*/ 0 h 17"/>
                <a:gd name="T6" fmla="*/ 21 w 41"/>
                <a:gd name="T7" fmla="*/ 7 h 17"/>
                <a:gd name="T8" fmla="*/ 41 w 41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7">
                  <a:moveTo>
                    <a:pt x="41" y="16"/>
                  </a:moveTo>
                  <a:cubicBezTo>
                    <a:pt x="41" y="17"/>
                    <a:pt x="31" y="14"/>
                    <a:pt x="20" y="9"/>
                  </a:cubicBezTo>
                  <a:cubicBezTo>
                    <a:pt x="9" y="5"/>
                    <a:pt x="0" y="1"/>
                    <a:pt x="0" y="0"/>
                  </a:cubicBezTo>
                  <a:cubicBezTo>
                    <a:pt x="0" y="0"/>
                    <a:pt x="10" y="3"/>
                    <a:pt x="21" y="7"/>
                  </a:cubicBezTo>
                  <a:cubicBezTo>
                    <a:pt x="32" y="12"/>
                    <a:pt x="41" y="16"/>
                    <a:pt x="41" y="16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5" name="Freeform 46">
              <a:extLst>
                <a:ext uri="{FF2B5EF4-FFF2-40B4-BE49-F238E27FC236}">
                  <a16:creationId xmlns:a16="http://schemas.microsoft.com/office/drawing/2014/main" id="{D639D18D-BDDE-438E-A4C7-5218A5C4B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" y="373"/>
              <a:ext cx="361" cy="361"/>
            </a:xfrm>
            <a:custGeom>
              <a:avLst/>
              <a:gdLst>
                <a:gd name="T0" fmla="*/ 75 w 152"/>
                <a:gd name="T1" fmla="*/ 152 h 152"/>
                <a:gd name="T2" fmla="*/ 76 w 152"/>
                <a:gd name="T3" fmla="*/ 152 h 152"/>
                <a:gd name="T4" fmla="*/ 78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4 w 152"/>
                <a:gd name="T13" fmla="*/ 145 h 152"/>
                <a:gd name="T14" fmla="*/ 122 w 152"/>
                <a:gd name="T15" fmla="*/ 134 h 152"/>
                <a:gd name="T16" fmla="*/ 139 w 152"/>
                <a:gd name="T17" fmla="*/ 114 h 152"/>
                <a:gd name="T18" fmla="*/ 148 w 152"/>
                <a:gd name="T19" fmla="*/ 86 h 152"/>
                <a:gd name="T20" fmla="*/ 145 w 152"/>
                <a:gd name="T21" fmla="*/ 54 h 152"/>
                <a:gd name="T22" fmla="*/ 127 w 152"/>
                <a:gd name="T23" fmla="*/ 24 h 152"/>
                <a:gd name="T24" fmla="*/ 97 w 152"/>
                <a:gd name="T25" fmla="*/ 6 h 152"/>
                <a:gd name="T26" fmla="*/ 65 w 152"/>
                <a:gd name="T27" fmla="*/ 3 h 152"/>
                <a:gd name="T28" fmla="*/ 37 w 152"/>
                <a:gd name="T29" fmla="*/ 13 h 152"/>
                <a:gd name="T30" fmla="*/ 17 w 152"/>
                <a:gd name="T31" fmla="*/ 29 h 152"/>
                <a:gd name="T32" fmla="*/ 6 w 152"/>
                <a:gd name="T33" fmla="*/ 48 h 152"/>
                <a:gd name="T34" fmla="*/ 3 w 152"/>
                <a:gd name="T35" fmla="*/ 56 h 152"/>
                <a:gd name="T36" fmla="*/ 1 w 152"/>
                <a:gd name="T37" fmla="*/ 63 h 152"/>
                <a:gd name="T38" fmla="*/ 0 w 152"/>
                <a:gd name="T39" fmla="*/ 69 h 152"/>
                <a:gd name="T40" fmla="*/ 0 w 152"/>
                <a:gd name="T41" fmla="*/ 73 h 152"/>
                <a:gd name="T42" fmla="*/ 0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0 w 152"/>
                <a:gd name="T51" fmla="*/ 69 h 152"/>
                <a:gd name="T52" fmla="*/ 1 w 152"/>
                <a:gd name="T53" fmla="*/ 63 h 152"/>
                <a:gd name="T54" fmla="*/ 2 w 152"/>
                <a:gd name="T55" fmla="*/ 56 h 152"/>
                <a:gd name="T56" fmla="*/ 5 w 152"/>
                <a:gd name="T57" fmla="*/ 47 h 152"/>
                <a:gd name="T58" fmla="*/ 16 w 152"/>
                <a:gd name="T59" fmla="*/ 28 h 152"/>
                <a:gd name="T60" fmla="*/ 36 w 152"/>
                <a:gd name="T61" fmla="*/ 11 h 152"/>
                <a:gd name="T62" fmla="*/ 65 w 152"/>
                <a:gd name="T63" fmla="*/ 1 h 152"/>
                <a:gd name="T64" fmla="*/ 98 w 152"/>
                <a:gd name="T65" fmla="*/ 4 h 152"/>
                <a:gd name="T66" fmla="*/ 129 w 152"/>
                <a:gd name="T67" fmla="*/ 23 h 152"/>
                <a:gd name="T68" fmla="*/ 147 w 152"/>
                <a:gd name="T69" fmla="*/ 53 h 152"/>
                <a:gd name="T70" fmla="*/ 150 w 152"/>
                <a:gd name="T71" fmla="*/ 87 h 152"/>
                <a:gd name="T72" fmla="*/ 140 w 152"/>
                <a:gd name="T73" fmla="*/ 115 h 152"/>
                <a:gd name="T74" fmla="*/ 123 w 152"/>
                <a:gd name="T75" fmla="*/ 135 h 152"/>
                <a:gd name="T76" fmla="*/ 104 w 152"/>
                <a:gd name="T77" fmla="*/ 146 h 152"/>
                <a:gd name="T78" fmla="*/ 96 w 152"/>
                <a:gd name="T79" fmla="*/ 149 h 152"/>
                <a:gd name="T80" fmla="*/ 89 w 152"/>
                <a:gd name="T81" fmla="*/ 151 h 152"/>
                <a:gd name="T82" fmla="*/ 83 w 152"/>
                <a:gd name="T83" fmla="*/ 152 h 152"/>
                <a:gd name="T84" fmla="*/ 78 w 152"/>
                <a:gd name="T85" fmla="*/ 152 h 152"/>
                <a:gd name="T86" fmla="*/ 76 w 152"/>
                <a:gd name="T87" fmla="*/ 152 h 152"/>
                <a:gd name="T88" fmla="*/ 75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5" y="152"/>
                  </a:moveTo>
                  <a:cubicBezTo>
                    <a:pt x="75" y="152"/>
                    <a:pt x="75" y="152"/>
                    <a:pt x="76" y="152"/>
                  </a:cubicBezTo>
                  <a:cubicBezTo>
                    <a:pt x="76" y="152"/>
                    <a:pt x="77" y="152"/>
                    <a:pt x="78" y="151"/>
                  </a:cubicBezTo>
                  <a:cubicBezTo>
                    <a:pt x="80" y="151"/>
                    <a:pt x="81" y="151"/>
                    <a:pt x="83" y="151"/>
                  </a:cubicBezTo>
                  <a:cubicBezTo>
                    <a:pt x="84" y="151"/>
                    <a:pt x="86" y="150"/>
                    <a:pt x="89" y="150"/>
                  </a:cubicBezTo>
                  <a:cubicBezTo>
                    <a:pt x="91" y="150"/>
                    <a:pt x="93" y="149"/>
                    <a:pt x="96" y="148"/>
                  </a:cubicBezTo>
                  <a:cubicBezTo>
                    <a:pt x="98" y="148"/>
                    <a:pt x="101" y="146"/>
                    <a:pt x="104" y="145"/>
                  </a:cubicBezTo>
                  <a:cubicBezTo>
                    <a:pt x="110" y="143"/>
                    <a:pt x="116" y="139"/>
                    <a:pt x="122" y="134"/>
                  </a:cubicBezTo>
                  <a:cubicBezTo>
                    <a:pt x="128" y="129"/>
                    <a:pt x="134" y="122"/>
                    <a:pt x="139" y="114"/>
                  </a:cubicBezTo>
                  <a:cubicBezTo>
                    <a:pt x="143" y="106"/>
                    <a:pt x="147" y="97"/>
                    <a:pt x="148" y="86"/>
                  </a:cubicBezTo>
                  <a:cubicBezTo>
                    <a:pt x="150" y="76"/>
                    <a:pt x="149" y="65"/>
                    <a:pt x="145" y="54"/>
                  </a:cubicBezTo>
                  <a:cubicBezTo>
                    <a:pt x="142" y="43"/>
                    <a:pt x="136" y="33"/>
                    <a:pt x="127" y="24"/>
                  </a:cubicBezTo>
                  <a:cubicBezTo>
                    <a:pt x="119" y="16"/>
                    <a:pt x="108" y="10"/>
                    <a:pt x="97" y="6"/>
                  </a:cubicBezTo>
                  <a:cubicBezTo>
                    <a:pt x="87" y="3"/>
                    <a:pt x="75" y="2"/>
                    <a:pt x="65" y="3"/>
                  </a:cubicBezTo>
                  <a:cubicBezTo>
                    <a:pt x="55" y="5"/>
                    <a:pt x="45" y="8"/>
                    <a:pt x="37" y="13"/>
                  </a:cubicBezTo>
                  <a:cubicBezTo>
                    <a:pt x="29" y="17"/>
                    <a:pt x="23" y="23"/>
                    <a:pt x="17" y="29"/>
                  </a:cubicBezTo>
                  <a:cubicBezTo>
                    <a:pt x="12" y="36"/>
                    <a:pt x="9" y="42"/>
                    <a:pt x="6" y="48"/>
                  </a:cubicBezTo>
                  <a:cubicBezTo>
                    <a:pt x="5" y="50"/>
                    <a:pt x="4" y="53"/>
                    <a:pt x="3" y="56"/>
                  </a:cubicBezTo>
                  <a:cubicBezTo>
                    <a:pt x="3" y="58"/>
                    <a:pt x="2" y="61"/>
                    <a:pt x="1" y="63"/>
                  </a:cubicBezTo>
                  <a:cubicBezTo>
                    <a:pt x="1" y="65"/>
                    <a:pt x="1" y="67"/>
                    <a:pt x="0" y="69"/>
                  </a:cubicBezTo>
                  <a:cubicBezTo>
                    <a:pt x="0" y="70"/>
                    <a:pt x="0" y="72"/>
                    <a:pt x="0" y="73"/>
                  </a:cubicBezTo>
                  <a:cubicBezTo>
                    <a:pt x="0" y="74"/>
                    <a:pt x="0" y="75"/>
                    <a:pt x="0" y="76"/>
                  </a:cubicBezTo>
                  <a:cubicBezTo>
                    <a:pt x="0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0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1" y="61"/>
                    <a:pt x="2" y="58"/>
                    <a:pt x="2" y="56"/>
                  </a:cubicBezTo>
                  <a:cubicBezTo>
                    <a:pt x="3" y="53"/>
                    <a:pt x="4" y="50"/>
                    <a:pt x="5" y="47"/>
                  </a:cubicBezTo>
                  <a:cubicBezTo>
                    <a:pt x="8" y="41"/>
                    <a:pt x="11" y="35"/>
                    <a:pt x="16" y="28"/>
                  </a:cubicBezTo>
                  <a:cubicBezTo>
                    <a:pt x="21" y="22"/>
                    <a:pt x="28" y="16"/>
                    <a:pt x="36" y="11"/>
                  </a:cubicBezTo>
                  <a:cubicBezTo>
                    <a:pt x="44" y="6"/>
                    <a:pt x="54" y="3"/>
                    <a:pt x="65" y="1"/>
                  </a:cubicBezTo>
                  <a:cubicBezTo>
                    <a:pt x="75" y="0"/>
                    <a:pt x="87" y="1"/>
                    <a:pt x="98" y="4"/>
                  </a:cubicBezTo>
                  <a:cubicBezTo>
                    <a:pt x="109" y="8"/>
                    <a:pt x="120" y="14"/>
                    <a:pt x="129" y="23"/>
                  </a:cubicBezTo>
                  <a:cubicBezTo>
                    <a:pt x="137" y="32"/>
                    <a:pt x="144" y="42"/>
                    <a:pt x="147" y="53"/>
                  </a:cubicBezTo>
                  <a:cubicBezTo>
                    <a:pt x="151" y="65"/>
                    <a:pt x="152" y="76"/>
                    <a:pt x="150" y="87"/>
                  </a:cubicBezTo>
                  <a:cubicBezTo>
                    <a:pt x="149" y="97"/>
                    <a:pt x="145" y="107"/>
                    <a:pt x="140" y="115"/>
                  </a:cubicBezTo>
                  <a:cubicBezTo>
                    <a:pt x="135" y="123"/>
                    <a:pt x="129" y="130"/>
                    <a:pt x="123" y="135"/>
                  </a:cubicBezTo>
                  <a:cubicBezTo>
                    <a:pt x="117" y="140"/>
                    <a:pt x="110" y="144"/>
                    <a:pt x="104" y="146"/>
                  </a:cubicBezTo>
                  <a:cubicBezTo>
                    <a:pt x="101" y="147"/>
                    <a:pt x="99" y="149"/>
                    <a:pt x="96" y="149"/>
                  </a:cubicBezTo>
                  <a:cubicBezTo>
                    <a:pt x="93" y="150"/>
                    <a:pt x="91" y="151"/>
                    <a:pt x="89" y="151"/>
                  </a:cubicBezTo>
                  <a:cubicBezTo>
                    <a:pt x="87" y="151"/>
                    <a:pt x="85" y="151"/>
                    <a:pt x="83" y="152"/>
                  </a:cubicBezTo>
                  <a:cubicBezTo>
                    <a:pt x="81" y="152"/>
                    <a:pt x="80" y="152"/>
                    <a:pt x="78" y="152"/>
                  </a:cubicBezTo>
                  <a:cubicBezTo>
                    <a:pt x="77" y="152"/>
                    <a:pt x="76" y="152"/>
                    <a:pt x="76" y="152"/>
                  </a:cubicBezTo>
                  <a:cubicBezTo>
                    <a:pt x="75" y="152"/>
                    <a:pt x="75" y="152"/>
                    <a:pt x="75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6" name="Freeform 47">
              <a:extLst>
                <a:ext uri="{FF2B5EF4-FFF2-40B4-BE49-F238E27FC236}">
                  <a16:creationId xmlns:a16="http://schemas.microsoft.com/office/drawing/2014/main" id="{201D5233-5B20-46BC-A9CF-B78CC69F9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693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8 w 33"/>
                <a:gd name="T3" fmla="*/ 32 h 33"/>
                <a:gd name="T4" fmla="*/ 1 w 33"/>
                <a:gd name="T5" fmla="*/ 19 h 33"/>
                <a:gd name="T6" fmla="*/ 14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8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3"/>
                    <a:pt x="14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7" name="Freeform 48">
              <a:extLst>
                <a:ext uri="{FF2B5EF4-FFF2-40B4-BE49-F238E27FC236}">
                  <a16:creationId xmlns:a16="http://schemas.microsoft.com/office/drawing/2014/main" id="{F8700010-893D-4935-829C-225C1305E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" y="373"/>
              <a:ext cx="361" cy="361"/>
            </a:xfrm>
            <a:custGeom>
              <a:avLst/>
              <a:gdLst>
                <a:gd name="T0" fmla="*/ 76 w 152"/>
                <a:gd name="T1" fmla="*/ 152 h 152"/>
                <a:gd name="T2" fmla="*/ 76 w 152"/>
                <a:gd name="T3" fmla="*/ 152 h 152"/>
                <a:gd name="T4" fmla="*/ 79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5 w 152"/>
                <a:gd name="T13" fmla="*/ 145 h 152"/>
                <a:gd name="T14" fmla="*/ 123 w 152"/>
                <a:gd name="T15" fmla="*/ 134 h 152"/>
                <a:gd name="T16" fmla="*/ 139 w 152"/>
                <a:gd name="T17" fmla="*/ 114 h 152"/>
                <a:gd name="T18" fmla="*/ 149 w 152"/>
                <a:gd name="T19" fmla="*/ 86 h 152"/>
                <a:gd name="T20" fmla="*/ 146 w 152"/>
                <a:gd name="T21" fmla="*/ 54 h 152"/>
                <a:gd name="T22" fmla="*/ 128 w 152"/>
                <a:gd name="T23" fmla="*/ 24 h 152"/>
                <a:gd name="T24" fmla="*/ 98 w 152"/>
                <a:gd name="T25" fmla="*/ 6 h 152"/>
                <a:gd name="T26" fmla="*/ 66 w 152"/>
                <a:gd name="T27" fmla="*/ 3 h 152"/>
                <a:gd name="T28" fmla="*/ 38 w 152"/>
                <a:gd name="T29" fmla="*/ 13 h 152"/>
                <a:gd name="T30" fmla="*/ 18 w 152"/>
                <a:gd name="T31" fmla="*/ 29 h 152"/>
                <a:gd name="T32" fmla="*/ 7 w 152"/>
                <a:gd name="T33" fmla="*/ 48 h 152"/>
                <a:gd name="T34" fmla="*/ 4 w 152"/>
                <a:gd name="T35" fmla="*/ 56 h 152"/>
                <a:gd name="T36" fmla="*/ 2 w 152"/>
                <a:gd name="T37" fmla="*/ 63 h 152"/>
                <a:gd name="T38" fmla="*/ 1 w 152"/>
                <a:gd name="T39" fmla="*/ 69 h 152"/>
                <a:gd name="T40" fmla="*/ 1 w 152"/>
                <a:gd name="T41" fmla="*/ 73 h 152"/>
                <a:gd name="T42" fmla="*/ 1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1 w 152"/>
                <a:gd name="T51" fmla="*/ 69 h 152"/>
                <a:gd name="T52" fmla="*/ 1 w 152"/>
                <a:gd name="T53" fmla="*/ 63 h 152"/>
                <a:gd name="T54" fmla="*/ 3 w 152"/>
                <a:gd name="T55" fmla="*/ 56 h 152"/>
                <a:gd name="T56" fmla="*/ 6 w 152"/>
                <a:gd name="T57" fmla="*/ 47 h 152"/>
                <a:gd name="T58" fmla="*/ 17 w 152"/>
                <a:gd name="T59" fmla="*/ 28 h 152"/>
                <a:gd name="T60" fmla="*/ 37 w 152"/>
                <a:gd name="T61" fmla="*/ 11 h 152"/>
                <a:gd name="T62" fmla="*/ 66 w 152"/>
                <a:gd name="T63" fmla="*/ 1 h 152"/>
                <a:gd name="T64" fmla="*/ 99 w 152"/>
                <a:gd name="T65" fmla="*/ 4 h 152"/>
                <a:gd name="T66" fmla="*/ 129 w 152"/>
                <a:gd name="T67" fmla="*/ 23 h 152"/>
                <a:gd name="T68" fmla="*/ 148 w 152"/>
                <a:gd name="T69" fmla="*/ 53 h 152"/>
                <a:gd name="T70" fmla="*/ 151 w 152"/>
                <a:gd name="T71" fmla="*/ 87 h 152"/>
                <a:gd name="T72" fmla="*/ 141 w 152"/>
                <a:gd name="T73" fmla="*/ 115 h 152"/>
                <a:gd name="T74" fmla="*/ 124 w 152"/>
                <a:gd name="T75" fmla="*/ 135 h 152"/>
                <a:gd name="T76" fmla="*/ 105 w 152"/>
                <a:gd name="T77" fmla="*/ 146 h 152"/>
                <a:gd name="T78" fmla="*/ 97 w 152"/>
                <a:gd name="T79" fmla="*/ 149 h 152"/>
                <a:gd name="T80" fmla="*/ 89 w 152"/>
                <a:gd name="T81" fmla="*/ 151 h 152"/>
                <a:gd name="T82" fmla="*/ 84 w 152"/>
                <a:gd name="T83" fmla="*/ 152 h 152"/>
                <a:gd name="T84" fmla="*/ 79 w 152"/>
                <a:gd name="T85" fmla="*/ 152 h 152"/>
                <a:gd name="T86" fmla="*/ 76 w 152"/>
                <a:gd name="T87" fmla="*/ 152 h 152"/>
                <a:gd name="T88" fmla="*/ 76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6" y="152"/>
                  </a:moveTo>
                  <a:cubicBezTo>
                    <a:pt x="76" y="152"/>
                    <a:pt x="76" y="152"/>
                    <a:pt x="76" y="152"/>
                  </a:cubicBezTo>
                  <a:cubicBezTo>
                    <a:pt x="77" y="152"/>
                    <a:pt x="78" y="152"/>
                    <a:pt x="79" y="151"/>
                  </a:cubicBezTo>
                  <a:cubicBezTo>
                    <a:pt x="80" y="151"/>
                    <a:pt x="82" y="151"/>
                    <a:pt x="83" y="151"/>
                  </a:cubicBezTo>
                  <a:cubicBezTo>
                    <a:pt x="85" y="151"/>
                    <a:pt x="87" y="150"/>
                    <a:pt x="89" y="150"/>
                  </a:cubicBezTo>
                  <a:cubicBezTo>
                    <a:pt x="92" y="150"/>
                    <a:pt x="94" y="149"/>
                    <a:pt x="96" y="148"/>
                  </a:cubicBezTo>
                  <a:cubicBezTo>
                    <a:pt x="99" y="148"/>
                    <a:pt x="102" y="146"/>
                    <a:pt x="105" y="145"/>
                  </a:cubicBezTo>
                  <a:cubicBezTo>
                    <a:pt x="110" y="143"/>
                    <a:pt x="117" y="139"/>
                    <a:pt x="123" y="134"/>
                  </a:cubicBezTo>
                  <a:cubicBezTo>
                    <a:pt x="129" y="129"/>
                    <a:pt x="135" y="122"/>
                    <a:pt x="139" y="114"/>
                  </a:cubicBezTo>
                  <a:cubicBezTo>
                    <a:pt x="144" y="106"/>
                    <a:pt x="148" y="97"/>
                    <a:pt x="149" y="86"/>
                  </a:cubicBezTo>
                  <a:cubicBezTo>
                    <a:pt x="150" y="76"/>
                    <a:pt x="150" y="65"/>
                    <a:pt x="146" y="54"/>
                  </a:cubicBezTo>
                  <a:cubicBezTo>
                    <a:pt x="143" y="43"/>
                    <a:pt x="136" y="33"/>
                    <a:pt x="128" y="24"/>
                  </a:cubicBezTo>
                  <a:cubicBezTo>
                    <a:pt x="119" y="16"/>
                    <a:pt x="109" y="10"/>
                    <a:pt x="98" y="6"/>
                  </a:cubicBezTo>
                  <a:cubicBezTo>
                    <a:pt x="87" y="3"/>
                    <a:pt x="76" y="2"/>
                    <a:pt x="66" y="3"/>
                  </a:cubicBezTo>
                  <a:cubicBezTo>
                    <a:pt x="55" y="5"/>
                    <a:pt x="46" y="8"/>
                    <a:pt x="38" y="13"/>
                  </a:cubicBezTo>
                  <a:cubicBezTo>
                    <a:pt x="30" y="17"/>
                    <a:pt x="23" y="23"/>
                    <a:pt x="18" y="29"/>
                  </a:cubicBezTo>
                  <a:cubicBezTo>
                    <a:pt x="13" y="36"/>
                    <a:pt x="10" y="42"/>
                    <a:pt x="7" y="48"/>
                  </a:cubicBezTo>
                  <a:cubicBezTo>
                    <a:pt x="6" y="50"/>
                    <a:pt x="5" y="53"/>
                    <a:pt x="4" y="56"/>
                  </a:cubicBezTo>
                  <a:cubicBezTo>
                    <a:pt x="3" y="58"/>
                    <a:pt x="2" y="61"/>
                    <a:pt x="2" y="63"/>
                  </a:cubicBezTo>
                  <a:cubicBezTo>
                    <a:pt x="2" y="65"/>
                    <a:pt x="1" y="67"/>
                    <a:pt x="1" y="69"/>
                  </a:cubicBezTo>
                  <a:cubicBezTo>
                    <a:pt x="1" y="70"/>
                    <a:pt x="1" y="72"/>
                    <a:pt x="1" y="73"/>
                  </a:cubicBezTo>
                  <a:cubicBezTo>
                    <a:pt x="1" y="74"/>
                    <a:pt x="1" y="75"/>
                    <a:pt x="1" y="76"/>
                  </a:cubicBezTo>
                  <a:cubicBezTo>
                    <a:pt x="1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1" y="69"/>
                  </a:cubicBezTo>
                  <a:cubicBezTo>
                    <a:pt x="1" y="67"/>
                    <a:pt x="1" y="65"/>
                    <a:pt x="1" y="63"/>
                  </a:cubicBezTo>
                  <a:cubicBezTo>
                    <a:pt x="2" y="61"/>
                    <a:pt x="2" y="58"/>
                    <a:pt x="3" y="56"/>
                  </a:cubicBezTo>
                  <a:cubicBezTo>
                    <a:pt x="4" y="53"/>
                    <a:pt x="5" y="50"/>
                    <a:pt x="6" y="47"/>
                  </a:cubicBezTo>
                  <a:cubicBezTo>
                    <a:pt x="8" y="41"/>
                    <a:pt x="12" y="35"/>
                    <a:pt x="17" y="28"/>
                  </a:cubicBezTo>
                  <a:cubicBezTo>
                    <a:pt x="22" y="22"/>
                    <a:pt x="29" y="16"/>
                    <a:pt x="37" y="11"/>
                  </a:cubicBezTo>
                  <a:cubicBezTo>
                    <a:pt x="45" y="6"/>
                    <a:pt x="55" y="3"/>
                    <a:pt x="66" y="1"/>
                  </a:cubicBezTo>
                  <a:cubicBezTo>
                    <a:pt x="76" y="0"/>
                    <a:pt x="88" y="1"/>
                    <a:pt x="99" y="4"/>
                  </a:cubicBezTo>
                  <a:cubicBezTo>
                    <a:pt x="110" y="8"/>
                    <a:pt x="121" y="14"/>
                    <a:pt x="129" y="23"/>
                  </a:cubicBezTo>
                  <a:cubicBezTo>
                    <a:pt x="138" y="32"/>
                    <a:pt x="144" y="42"/>
                    <a:pt x="148" y="53"/>
                  </a:cubicBezTo>
                  <a:cubicBezTo>
                    <a:pt x="152" y="65"/>
                    <a:pt x="152" y="76"/>
                    <a:pt x="151" y="87"/>
                  </a:cubicBezTo>
                  <a:cubicBezTo>
                    <a:pt x="149" y="97"/>
                    <a:pt x="146" y="107"/>
                    <a:pt x="141" y="115"/>
                  </a:cubicBezTo>
                  <a:cubicBezTo>
                    <a:pt x="136" y="123"/>
                    <a:pt x="130" y="130"/>
                    <a:pt x="124" y="135"/>
                  </a:cubicBezTo>
                  <a:cubicBezTo>
                    <a:pt x="118" y="140"/>
                    <a:pt x="111" y="144"/>
                    <a:pt x="105" y="146"/>
                  </a:cubicBezTo>
                  <a:cubicBezTo>
                    <a:pt x="102" y="147"/>
                    <a:pt x="99" y="149"/>
                    <a:pt x="97" y="149"/>
                  </a:cubicBezTo>
                  <a:cubicBezTo>
                    <a:pt x="94" y="150"/>
                    <a:pt x="92" y="151"/>
                    <a:pt x="89" y="151"/>
                  </a:cubicBezTo>
                  <a:cubicBezTo>
                    <a:pt x="87" y="151"/>
                    <a:pt x="85" y="151"/>
                    <a:pt x="84" y="152"/>
                  </a:cubicBezTo>
                  <a:cubicBezTo>
                    <a:pt x="82" y="152"/>
                    <a:pt x="80" y="152"/>
                    <a:pt x="79" y="152"/>
                  </a:cubicBezTo>
                  <a:cubicBezTo>
                    <a:pt x="78" y="152"/>
                    <a:pt x="77" y="152"/>
                    <a:pt x="76" y="152"/>
                  </a:cubicBezTo>
                  <a:cubicBezTo>
                    <a:pt x="76" y="152"/>
                    <a:pt x="76" y="152"/>
                    <a:pt x="76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8" name="Freeform 49">
              <a:extLst>
                <a:ext uri="{FF2B5EF4-FFF2-40B4-BE49-F238E27FC236}">
                  <a16:creationId xmlns:a16="http://schemas.microsoft.com/office/drawing/2014/main" id="{30EF774B-CAB0-4306-8C2D-6970D529D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2" y="700"/>
              <a:ext cx="78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2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9" name="Freeform 50">
              <a:extLst>
                <a:ext uri="{FF2B5EF4-FFF2-40B4-BE49-F238E27FC236}">
                  <a16:creationId xmlns:a16="http://schemas.microsoft.com/office/drawing/2014/main" id="{217E5C42-BE1B-46D0-A682-9F7602545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" y="373"/>
              <a:ext cx="361" cy="361"/>
            </a:xfrm>
            <a:custGeom>
              <a:avLst/>
              <a:gdLst>
                <a:gd name="T0" fmla="*/ 75 w 152"/>
                <a:gd name="T1" fmla="*/ 152 h 152"/>
                <a:gd name="T2" fmla="*/ 76 w 152"/>
                <a:gd name="T3" fmla="*/ 152 h 152"/>
                <a:gd name="T4" fmla="*/ 78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4 w 152"/>
                <a:gd name="T13" fmla="*/ 145 h 152"/>
                <a:gd name="T14" fmla="*/ 122 w 152"/>
                <a:gd name="T15" fmla="*/ 134 h 152"/>
                <a:gd name="T16" fmla="*/ 139 w 152"/>
                <a:gd name="T17" fmla="*/ 114 h 152"/>
                <a:gd name="T18" fmla="*/ 148 w 152"/>
                <a:gd name="T19" fmla="*/ 86 h 152"/>
                <a:gd name="T20" fmla="*/ 145 w 152"/>
                <a:gd name="T21" fmla="*/ 54 h 152"/>
                <a:gd name="T22" fmla="*/ 127 w 152"/>
                <a:gd name="T23" fmla="*/ 24 h 152"/>
                <a:gd name="T24" fmla="*/ 97 w 152"/>
                <a:gd name="T25" fmla="*/ 6 h 152"/>
                <a:gd name="T26" fmla="*/ 65 w 152"/>
                <a:gd name="T27" fmla="*/ 3 h 152"/>
                <a:gd name="T28" fmla="*/ 37 w 152"/>
                <a:gd name="T29" fmla="*/ 13 h 152"/>
                <a:gd name="T30" fmla="*/ 17 w 152"/>
                <a:gd name="T31" fmla="*/ 29 h 152"/>
                <a:gd name="T32" fmla="*/ 6 w 152"/>
                <a:gd name="T33" fmla="*/ 48 h 152"/>
                <a:gd name="T34" fmla="*/ 3 w 152"/>
                <a:gd name="T35" fmla="*/ 56 h 152"/>
                <a:gd name="T36" fmla="*/ 1 w 152"/>
                <a:gd name="T37" fmla="*/ 63 h 152"/>
                <a:gd name="T38" fmla="*/ 0 w 152"/>
                <a:gd name="T39" fmla="*/ 69 h 152"/>
                <a:gd name="T40" fmla="*/ 0 w 152"/>
                <a:gd name="T41" fmla="*/ 73 h 152"/>
                <a:gd name="T42" fmla="*/ 0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0 w 152"/>
                <a:gd name="T51" fmla="*/ 69 h 152"/>
                <a:gd name="T52" fmla="*/ 1 w 152"/>
                <a:gd name="T53" fmla="*/ 63 h 152"/>
                <a:gd name="T54" fmla="*/ 2 w 152"/>
                <a:gd name="T55" fmla="*/ 56 h 152"/>
                <a:gd name="T56" fmla="*/ 5 w 152"/>
                <a:gd name="T57" fmla="*/ 47 h 152"/>
                <a:gd name="T58" fmla="*/ 16 w 152"/>
                <a:gd name="T59" fmla="*/ 28 h 152"/>
                <a:gd name="T60" fmla="*/ 36 w 152"/>
                <a:gd name="T61" fmla="*/ 11 h 152"/>
                <a:gd name="T62" fmla="*/ 65 w 152"/>
                <a:gd name="T63" fmla="*/ 1 h 152"/>
                <a:gd name="T64" fmla="*/ 98 w 152"/>
                <a:gd name="T65" fmla="*/ 4 h 152"/>
                <a:gd name="T66" fmla="*/ 129 w 152"/>
                <a:gd name="T67" fmla="*/ 23 h 152"/>
                <a:gd name="T68" fmla="*/ 147 w 152"/>
                <a:gd name="T69" fmla="*/ 53 h 152"/>
                <a:gd name="T70" fmla="*/ 150 w 152"/>
                <a:gd name="T71" fmla="*/ 87 h 152"/>
                <a:gd name="T72" fmla="*/ 140 w 152"/>
                <a:gd name="T73" fmla="*/ 115 h 152"/>
                <a:gd name="T74" fmla="*/ 123 w 152"/>
                <a:gd name="T75" fmla="*/ 135 h 152"/>
                <a:gd name="T76" fmla="*/ 104 w 152"/>
                <a:gd name="T77" fmla="*/ 146 h 152"/>
                <a:gd name="T78" fmla="*/ 96 w 152"/>
                <a:gd name="T79" fmla="*/ 149 h 152"/>
                <a:gd name="T80" fmla="*/ 89 w 152"/>
                <a:gd name="T81" fmla="*/ 151 h 152"/>
                <a:gd name="T82" fmla="*/ 83 w 152"/>
                <a:gd name="T83" fmla="*/ 152 h 152"/>
                <a:gd name="T84" fmla="*/ 78 w 152"/>
                <a:gd name="T85" fmla="*/ 152 h 152"/>
                <a:gd name="T86" fmla="*/ 76 w 152"/>
                <a:gd name="T87" fmla="*/ 152 h 152"/>
                <a:gd name="T88" fmla="*/ 75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5" y="152"/>
                  </a:moveTo>
                  <a:cubicBezTo>
                    <a:pt x="75" y="152"/>
                    <a:pt x="75" y="152"/>
                    <a:pt x="76" y="152"/>
                  </a:cubicBezTo>
                  <a:cubicBezTo>
                    <a:pt x="76" y="152"/>
                    <a:pt x="77" y="152"/>
                    <a:pt x="78" y="151"/>
                  </a:cubicBezTo>
                  <a:cubicBezTo>
                    <a:pt x="80" y="151"/>
                    <a:pt x="81" y="151"/>
                    <a:pt x="83" y="151"/>
                  </a:cubicBezTo>
                  <a:cubicBezTo>
                    <a:pt x="84" y="151"/>
                    <a:pt x="86" y="150"/>
                    <a:pt x="89" y="150"/>
                  </a:cubicBezTo>
                  <a:cubicBezTo>
                    <a:pt x="91" y="150"/>
                    <a:pt x="93" y="149"/>
                    <a:pt x="96" y="148"/>
                  </a:cubicBezTo>
                  <a:cubicBezTo>
                    <a:pt x="98" y="148"/>
                    <a:pt x="101" y="146"/>
                    <a:pt x="104" y="145"/>
                  </a:cubicBezTo>
                  <a:cubicBezTo>
                    <a:pt x="110" y="143"/>
                    <a:pt x="116" y="139"/>
                    <a:pt x="122" y="134"/>
                  </a:cubicBezTo>
                  <a:cubicBezTo>
                    <a:pt x="128" y="129"/>
                    <a:pt x="134" y="122"/>
                    <a:pt x="139" y="114"/>
                  </a:cubicBezTo>
                  <a:cubicBezTo>
                    <a:pt x="143" y="106"/>
                    <a:pt x="147" y="97"/>
                    <a:pt x="148" y="86"/>
                  </a:cubicBezTo>
                  <a:cubicBezTo>
                    <a:pt x="150" y="76"/>
                    <a:pt x="149" y="65"/>
                    <a:pt x="145" y="54"/>
                  </a:cubicBezTo>
                  <a:cubicBezTo>
                    <a:pt x="142" y="43"/>
                    <a:pt x="136" y="33"/>
                    <a:pt x="127" y="24"/>
                  </a:cubicBezTo>
                  <a:cubicBezTo>
                    <a:pt x="119" y="16"/>
                    <a:pt x="108" y="10"/>
                    <a:pt x="97" y="6"/>
                  </a:cubicBezTo>
                  <a:cubicBezTo>
                    <a:pt x="87" y="3"/>
                    <a:pt x="75" y="2"/>
                    <a:pt x="65" y="3"/>
                  </a:cubicBezTo>
                  <a:cubicBezTo>
                    <a:pt x="55" y="5"/>
                    <a:pt x="45" y="8"/>
                    <a:pt x="37" y="13"/>
                  </a:cubicBezTo>
                  <a:cubicBezTo>
                    <a:pt x="29" y="17"/>
                    <a:pt x="23" y="23"/>
                    <a:pt x="17" y="29"/>
                  </a:cubicBezTo>
                  <a:cubicBezTo>
                    <a:pt x="12" y="36"/>
                    <a:pt x="9" y="42"/>
                    <a:pt x="6" y="48"/>
                  </a:cubicBezTo>
                  <a:cubicBezTo>
                    <a:pt x="5" y="50"/>
                    <a:pt x="4" y="53"/>
                    <a:pt x="3" y="56"/>
                  </a:cubicBezTo>
                  <a:cubicBezTo>
                    <a:pt x="3" y="58"/>
                    <a:pt x="2" y="61"/>
                    <a:pt x="1" y="63"/>
                  </a:cubicBezTo>
                  <a:cubicBezTo>
                    <a:pt x="1" y="65"/>
                    <a:pt x="1" y="67"/>
                    <a:pt x="0" y="69"/>
                  </a:cubicBezTo>
                  <a:cubicBezTo>
                    <a:pt x="0" y="70"/>
                    <a:pt x="0" y="72"/>
                    <a:pt x="0" y="73"/>
                  </a:cubicBezTo>
                  <a:cubicBezTo>
                    <a:pt x="0" y="74"/>
                    <a:pt x="0" y="75"/>
                    <a:pt x="0" y="76"/>
                  </a:cubicBezTo>
                  <a:cubicBezTo>
                    <a:pt x="0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0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1" y="61"/>
                    <a:pt x="2" y="58"/>
                    <a:pt x="2" y="56"/>
                  </a:cubicBezTo>
                  <a:cubicBezTo>
                    <a:pt x="3" y="53"/>
                    <a:pt x="4" y="50"/>
                    <a:pt x="5" y="47"/>
                  </a:cubicBezTo>
                  <a:cubicBezTo>
                    <a:pt x="8" y="41"/>
                    <a:pt x="11" y="35"/>
                    <a:pt x="16" y="28"/>
                  </a:cubicBezTo>
                  <a:cubicBezTo>
                    <a:pt x="21" y="22"/>
                    <a:pt x="28" y="16"/>
                    <a:pt x="36" y="11"/>
                  </a:cubicBezTo>
                  <a:cubicBezTo>
                    <a:pt x="44" y="6"/>
                    <a:pt x="54" y="3"/>
                    <a:pt x="65" y="1"/>
                  </a:cubicBezTo>
                  <a:cubicBezTo>
                    <a:pt x="75" y="0"/>
                    <a:pt x="87" y="1"/>
                    <a:pt x="98" y="4"/>
                  </a:cubicBezTo>
                  <a:cubicBezTo>
                    <a:pt x="109" y="8"/>
                    <a:pt x="120" y="14"/>
                    <a:pt x="129" y="23"/>
                  </a:cubicBezTo>
                  <a:cubicBezTo>
                    <a:pt x="137" y="32"/>
                    <a:pt x="144" y="42"/>
                    <a:pt x="147" y="53"/>
                  </a:cubicBezTo>
                  <a:cubicBezTo>
                    <a:pt x="151" y="65"/>
                    <a:pt x="152" y="76"/>
                    <a:pt x="150" y="87"/>
                  </a:cubicBezTo>
                  <a:cubicBezTo>
                    <a:pt x="149" y="97"/>
                    <a:pt x="145" y="107"/>
                    <a:pt x="140" y="115"/>
                  </a:cubicBezTo>
                  <a:cubicBezTo>
                    <a:pt x="135" y="123"/>
                    <a:pt x="129" y="130"/>
                    <a:pt x="123" y="135"/>
                  </a:cubicBezTo>
                  <a:cubicBezTo>
                    <a:pt x="117" y="140"/>
                    <a:pt x="110" y="144"/>
                    <a:pt x="104" y="146"/>
                  </a:cubicBezTo>
                  <a:cubicBezTo>
                    <a:pt x="101" y="147"/>
                    <a:pt x="99" y="149"/>
                    <a:pt x="96" y="149"/>
                  </a:cubicBezTo>
                  <a:cubicBezTo>
                    <a:pt x="93" y="150"/>
                    <a:pt x="91" y="151"/>
                    <a:pt x="89" y="151"/>
                  </a:cubicBezTo>
                  <a:cubicBezTo>
                    <a:pt x="86" y="151"/>
                    <a:pt x="84" y="151"/>
                    <a:pt x="83" y="152"/>
                  </a:cubicBezTo>
                  <a:cubicBezTo>
                    <a:pt x="81" y="152"/>
                    <a:pt x="80" y="152"/>
                    <a:pt x="78" y="152"/>
                  </a:cubicBezTo>
                  <a:cubicBezTo>
                    <a:pt x="77" y="152"/>
                    <a:pt x="76" y="152"/>
                    <a:pt x="76" y="152"/>
                  </a:cubicBezTo>
                  <a:cubicBezTo>
                    <a:pt x="75" y="152"/>
                    <a:pt x="75" y="152"/>
                    <a:pt x="75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0" name="Freeform 51">
              <a:extLst>
                <a:ext uri="{FF2B5EF4-FFF2-40B4-BE49-F238E27FC236}">
                  <a16:creationId xmlns:a16="http://schemas.microsoft.com/office/drawing/2014/main" id="{9600B6C1-CBF2-4FCC-B448-959DDCF1C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" y="700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3" y="27"/>
                    <a:pt x="1" y="19"/>
                  </a:cubicBezTo>
                  <a:cubicBezTo>
                    <a:pt x="0" y="10"/>
                    <a:pt x="6" y="2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1" name="Freeform 52">
              <a:extLst>
                <a:ext uri="{FF2B5EF4-FFF2-40B4-BE49-F238E27FC236}">
                  <a16:creationId xmlns:a16="http://schemas.microsoft.com/office/drawing/2014/main" id="{DF822E0C-B519-4280-86B5-70AB7C2D6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" y="373"/>
              <a:ext cx="361" cy="361"/>
            </a:xfrm>
            <a:custGeom>
              <a:avLst/>
              <a:gdLst>
                <a:gd name="T0" fmla="*/ 76 w 152"/>
                <a:gd name="T1" fmla="*/ 152 h 152"/>
                <a:gd name="T2" fmla="*/ 77 w 152"/>
                <a:gd name="T3" fmla="*/ 152 h 152"/>
                <a:gd name="T4" fmla="*/ 79 w 152"/>
                <a:gd name="T5" fmla="*/ 151 h 152"/>
                <a:gd name="T6" fmla="*/ 84 w 152"/>
                <a:gd name="T7" fmla="*/ 151 h 152"/>
                <a:gd name="T8" fmla="*/ 89 w 152"/>
                <a:gd name="T9" fmla="*/ 150 h 152"/>
                <a:gd name="T10" fmla="*/ 97 w 152"/>
                <a:gd name="T11" fmla="*/ 148 h 152"/>
                <a:gd name="T12" fmla="*/ 105 w 152"/>
                <a:gd name="T13" fmla="*/ 145 h 152"/>
                <a:gd name="T14" fmla="*/ 123 w 152"/>
                <a:gd name="T15" fmla="*/ 134 h 152"/>
                <a:gd name="T16" fmla="*/ 140 w 152"/>
                <a:gd name="T17" fmla="*/ 114 h 152"/>
                <a:gd name="T18" fmla="*/ 149 w 152"/>
                <a:gd name="T19" fmla="*/ 86 h 152"/>
                <a:gd name="T20" fmla="*/ 146 w 152"/>
                <a:gd name="T21" fmla="*/ 54 h 152"/>
                <a:gd name="T22" fmla="*/ 128 w 152"/>
                <a:gd name="T23" fmla="*/ 24 h 152"/>
                <a:gd name="T24" fmla="*/ 98 w 152"/>
                <a:gd name="T25" fmla="*/ 6 h 152"/>
                <a:gd name="T26" fmla="*/ 66 w 152"/>
                <a:gd name="T27" fmla="*/ 3 h 152"/>
                <a:gd name="T28" fmla="*/ 38 w 152"/>
                <a:gd name="T29" fmla="*/ 13 h 152"/>
                <a:gd name="T30" fmla="*/ 18 w 152"/>
                <a:gd name="T31" fmla="*/ 29 h 152"/>
                <a:gd name="T32" fmla="*/ 7 w 152"/>
                <a:gd name="T33" fmla="*/ 48 h 152"/>
                <a:gd name="T34" fmla="*/ 4 w 152"/>
                <a:gd name="T35" fmla="*/ 56 h 152"/>
                <a:gd name="T36" fmla="*/ 2 w 152"/>
                <a:gd name="T37" fmla="*/ 63 h 152"/>
                <a:gd name="T38" fmla="*/ 1 w 152"/>
                <a:gd name="T39" fmla="*/ 69 h 152"/>
                <a:gd name="T40" fmla="*/ 1 w 152"/>
                <a:gd name="T41" fmla="*/ 73 h 152"/>
                <a:gd name="T42" fmla="*/ 1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1 w 152"/>
                <a:gd name="T51" fmla="*/ 69 h 152"/>
                <a:gd name="T52" fmla="*/ 1 w 152"/>
                <a:gd name="T53" fmla="*/ 63 h 152"/>
                <a:gd name="T54" fmla="*/ 3 w 152"/>
                <a:gd name="T55" fmla="*/ 56 h 152"/>
                <a:gd name="T56" fmla="*/ 6 w 152"/>
                <a:gd name="T57" fmla="*/ 47 h 152"/>
                <a:gd name="T58" fmla="*/ 17 w 152"/>
                <a:gd name="T59" fmla="*/ 28 h 152"/>
                <a:gd name="T60" fmla="*/ 37 w 152"/>
                <a:gd name="T61" fmla="*/ 11 h 152"/>
                <a:gd name="T62" fmla="*/ 66 w 152"/>
                <a:gd name="T63" fmla="*/ 1 h 152"/>
                <a:gd name="T64" fmla="*/ 99 w 152"/>
                <a:gd name="T65" fmla="*/ 4 h 152"/>
                <a:gd name="T66" fmla="*/ 129 w 152"/>
                <a:gd name="T67" fmla="*/ 23 h 152"/>
                <a:gd name="T68" fmla="*/ 148 w 152"/>
                <a:gd name="T69" fmla="*/ 53 h 152"/>
                <a:gd name="T70" fmla="*/ 151 w 152"/>
                <a:gd name="T71" fmla="*/ 87 h 152"/>
                <a:gd name="T72" fmla="*/ 141 w 152"/>
                <a:gd name="T73" fmla="*/ 115 h 152"/>
                <a:gd name="T74" fmla="*/ 124 w 152"/>
                <a:gd name="T75" fmla="*/ 135 h 152"/>
                <a:gd name="T76" fmla="*/ 105 w 152"/>
                <a:gd name="T77" fmla="*/ 146 h 152"/>
                <a:gd name="T78" fmla="*/ 97 w 152"/>
                <a:gd name="T79" fmla="*/ 149 h 152"/>
                <a:gd name="T80" fmla="*/ 90 w 152"/>
                <a:gd name="T81" fmla="*/ 151 h 152"/>
                <a:gd name="T82" fmla="*/ 84 w 152"/>
                <a:gd name="T83" fmla="*/ 152 h 152"/>
                <a:gd name="T84" fmla="*/ 79 w 152"/>
                <a:gd name="T85" fmla="*/ 152 h 152"/>
                <a:gd name="T86" fmla="*/ 77 w 152"/>
                <a:gd name="T87" fmla="*/ 152 h 152"/>
                <a:gd name="T88" fmla="*/ 76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6" y="152"/>
                  </a:moveTo>
                  <a:cubicBezTo>
                    <a:pt x="76" y="152"/>
                    <a:pt x="76" y="152"/>
                    <a:pt x="77" y="152"/>
                  </a:cubicBezTo>
                  <a:cubicBezTo>
                    <a:pt x="77" y="152"/>
                    <a:pt x="78" y="152"/>
                    <a:pt x="79" y="151"/>
                  </a:cubicBezTo>
                  <a:cubicBezTo>
                    <a:pt x="80" y="151"/>
                    <a:pt x="82" y="151"/>
                    <a:pt x="84" y="151"/>
                  </a:cubicBezTo>
                  <a:cubicBezTo>
                    <a:pt x="85" y="151"/>
                    <a:pt x="87" y="150"/>
                    <a:pt x="89" y="150"/>
                  </a:cubicBezTo>
                  <a:cubicBezTo>
                    <a:pt x="92" y="150"/>
                    <a:pt x="94" y="149"/>
                    <a:pt x="97" y="148"/>
                  </a:cubicBezTo>
                  <a:cubicBezTo>
                    <a:pt x="99" y="148"/>
                    <a:pt x="102" y="146"/>
                    <a:pt x="105" y="145"/>
                  </a:cubicBezTo>
                  <a:cubicBezTo>
                    <a:pt x="111" y="143"/>
                    <a:pt x="117" y="139"/>
                    <a:pt x="123" y="134"/>
                  </a:cubicBezTo>
                  <a:cubicBezTo>
                    <a:pt x="129" y="129"/>
                    <a:pt x="135" y="122"/>
                    <a:pt x="140" y="114"/>
                  </a:cubicBezTo>
                  <a:cubicBezTo>
                    <a:pt x="144" y="106"/>
                    <a:pt x="148" y="97"/>
                    <a:pt x="149" y="86"/>
                  </a:cubicBezTo>
                  <a:cubicBezTo>
                    <a:pt x="150" y="76"/>
                    <a:pt x="150" y="65"/>
                    <a:pt x="146" y="54"/>
                  </a:cubicBezTo>
                  <a:cubicBezTo>
                    <a:pt x="143" y="43"/>
                    <a:pt x="136" y="33"/>
                    <a:pt x="128" y="24"/>
                  </a:cubicBezTo>
                  <a:cubicBezTo>
                    <a:pt x="119" y="16"/>
                    <a:pt x="109" y="10"/>
                    <a:pt x="98" y="6"/>
                  </a:cubicBezTo>
                  <a:cubicBezTo>
                    <a:pt x="87" y="3"/>
                    <a:pt x="76" y="2"/>
                    <a:pt x="66" y="3"/>
                  </a:cubicBezTo>
                  <a:cubicBezTo>
                    <a:pt x="56" y="5"/>
                    <a:pt x="46" y="8"/>
                    <a:pt x="38" y="13"/>
                  </a:cubicBezTo>
                  <a:cubicBezTo>
                    <a:pt x="30" y="17"/>
                    <a:pt x="23" y="23"/>
                    <a:pt x="18" y="29"/>
                  </a:cubicBezTo>
                  <a:cubicBezTo>
                    <a:pt x="13" y="36"/>
                    <a:pt x="10" y="42"/>
                    <a:pt x="7" y="48"/>
                  </a:cubicBezTo>
                  <a:cubicBezTo>
                    <a:pt x="6" y="50"/>
                    <a:pt x="5" y="53"/>
                    <a:pt x="4" y="56"/>
                  </a:cubicBezTo>
                  <a:cubicBezTo>
                    <a:pt x="3" y="58"/>
                    <a:pt x="3" y="61"/>
                    <a:pt x="2" y="63"/>
                  </a:cubicBezTo>
                  <a:cubicBezTo>
                    <a:pt x="2" y="65"/>
                    <a:pt x="2" y="67"/>
                    <a:pt x="1" y="69"/>
                  </a:cubicBezTo>
                  <a:cubicBezTo>
                    <a:pt x="1" y="70"/>
                    <a:pt x="1" y="72"/>
                    <a:pt x="1" y="73"/>
                  </a:cubicBezTo>
                  <a:cubicBezTo>
                    <a:pt x="1" y="74"/>
                    <a:pt x="1" y="75"/>
                    <a:pt x="1" y="76"/>
                  </a:cubicBezTo>
                  <a:cubicBezTo>
                    <a:pt x="1" y="76"/>
                    <a:pt x="1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1" y="72"/>
                    <a:pt x="1" y="70"/>
                    <a:pt x="1" y="69"/>
                  </a:cubicBezTo>
                  <a:cubicBezTo>
                    <a:pt x="1" y="67"/>
                    <a:pt x="1" y="65"/>
                    <a:pt x="1" y="63"/>
                  </a:cubicBezTo>
                  <a:cubicBezTo>
                    <a:pt x="2" y="61"/>
                    <a:pt x="2" y="58"/>
                    <a:pt x="3" y="56"/>
                  </a:cubicBezTo>
                  <a:cubicBezTo>
                    <a:pt x="4" y="53"/>
                    <a:pt x="5" y="50"/>
                    <a:pt x="6" y="47"/>
                  </a:cubicBezTo>
                  <a:cubicBezTo>
                    <a:pt x="9" y="41"/>
                    <a:pt x="12" y="35"/>
                    <a:pt x="17" y="28"/>
                  </a:cubicBezTo>
                  <a:cubicBezTo>
                    <a:pt x="22" y="22"/>
                    <a:pt x="29" y="16"/>
                    <a:pt x="37" y="11"/>
                  </a:cubicBezTo>
                  <a:cubicBezTo>
                    <a:pt x="45" y="6"/>
                    <a:pt x="55" y="3"/>
                    <a:pt x="66" y="1"/>
                  </a:cubicBezTo>
                  <a:cubicBezTo>
                    <a:pt x="76" y="0"/>
                    <a:pt x="88" y="1"/>
                    <a:pt x="99" y="4"/>
                  </a:cubicBezTo>
                  <a:cubicBezTo>
                    <a:pt x="110" y="8"/>
                    <a:pt x="121" y="14"/>
                    <a:pt x="129" y="23"/>
                  </a:cubicBezTo>
                  <a:cubicBezTo>
                    <a:pt x="138" y="32"/>
                    <a:pt x="145" y="42"/>
                    <a:pt x="148" y="53"/>
                  </a:cubicBezTo>
                  <a:cubicBezTo>
                    <a:pt x="152" y="65"/>
                    <a:pt x="152" y="76"/>
                    <a:pt x="151" y="87"/>
                  </a:cubicBezTo>
                  <a:cubicBezTo>
                    <a:pt x="150" y="97"/>
                    <a:pt x="146" y="107"/>
                    <a:pt x="141" y="115"/>
                  </a:cubicBezTo>
                  <a:cubicBezTo>
                    <a:pt x="136" y="123"/>
                    <a:pt x="130" y="130"/>
                    <a:pt x="124" y="135"/>
                  </a:cubicBezTo>
                  <a:cubicBezTo>
                    <a:pt x="118" y="140"/>
                    <a:pt x="111" y="144"/>
                    <a:pt x="105" y="146"/>
                  </a:cubicBezTo>
                  <a:cubicBezTo>
                    <a:pt x="102" y="147"/>
                    <a:pt x="99" y="149"/>
                    <a:pt x="97" y="149"/>
                  </a:cubicBezTo>
                  <a:cubicBezTo>
                    <a:pt x="94" y="150"/>
                    <a:pt x="92" y="151"/>
                    <a:pt x="90" y="151"/>
                  </a:cubicBezTo>
                  <a:cubicBezTo>
                    <a:pt x="87" y="151"/>
                    <a:pt x="85" y="151"/>
                    <a:pt x="84" y="152"/>
                  </a:cubicBezTo>
                  <a:cubicBezTo>
                    <a:pt x="82" y="152"/>
                    <a:pt x="80" y="152"/>
                    <a:pt x="79" y="152"/>
                  </a:cubicBezTo>
                  <a:cubicBezTo>
                    <a:pt x="78" y="152"/>
                    <a:pt x="77" y="152"/>
                    <a:pt x="77" y="152"/>
                  </a:cubicBezTo>
                  <a:cubicBezTo>
                    <a:pt x="76" y="152"/>
                    <a:pt x="76" y="152"/>
                    <a:pt x="76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2" name="Freeform 53">
              <a:extLst>
                <a:ext uri="{FF2B5EF4-FFF2-40B4-BE49-F238E27FC236}">
                  <a16:creationId xmlns:a16="http://schemas.microsoft.com/office/drawing/2014/main" id="{4D292E3D-8497-4297-B1A4-200578A0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1" y="693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3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3" name="Freeform 54">
              <a:extLst>
                <a:ext uri="{FF2B5EF4-FFF2-40B4-BE49-F238E27FC236}">
                  <a16:creationId xmlns:a16="http://schemas.microsoft.com/office/drawing/2014/main" id="{71D350F0-720A-494C-9701-155B3CEA3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5" y="2073"/>
              <a:ext cx="477" cy="639"/>
            </a:xfrm>
            <a:custGeom>
              <a:avLst/>
              <a:gdLst>
                <a:gd name="T0" fmla="*/ 136 w 201"/>
                <a:gd name="T1" fmla="*/ 0 h 269"/>
                <a:gd name="T2" fmla="*/ 111 w 201"/>
                <a:gd name="T3" fmla="*/ 24 h 269"/>
                <a:gd name="T4" fmla="*/ 80 w 201"/>
                <a:gd name="T5" fmla="*/ 40 h 269"/>
                <a:gd name="T6" fmla="*/ 65 w 201"/>
                <a:gd name="T7" fmla="*/ 84 h 269"/>
                <a:gd name="T8" fmla="*/ 19 w 201"/>
                <a:gd name="T9" fmla="*/ 115 h 269"/>
                <a:gd name="T10" fmla="*/ 1 w 201"/>
                <a:gd name="T11" fmla="*/ 155 h 269"/>
                <a:gd name="T12" fmla="*/ 8 w 201"/>
                <a:gd name="T13" fmla="*/ 201 h 269"/>
                <a:gd name="T14" fmla="*/ 36 w 201"/>
                <a:gd name="T15" fmla="*/ 249 h 269"/>
                <a:gd name="T16" fmla="*/ 127 w 201"/>
                <a:gd name="T17" fmla="*/ 250 h 269"/>
                <a:gd name="T18" fmla="*/ 194 w 201"/>
                <a:gd name="T19" fmla="*/ 201 h 269"/>
                <a:gd name="T20" fmla="*/ 195 w 201"/>
                <a:gd name="T21" fmla="*/ 147 h 269"/>
                <a:gd name="T22" fmla="*/ 177 w 201"/>
                <a:gd name="T23" fmla="*/ 31 h 269"/>
                <a:gd name="T24" fmla="*/ 136 w 201"/>
                <a:gd name="T2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" h="269">
                  <a:moveTo>
                    <a:pt x="136" y="0"/>
                  </a:moveTo>
                  <a:cubicBezTo>
                    <a:pt x="135" y="12"/>
                    <a:pt x="123" y="20"/>
                    <a:pt x="111" y="24"/>
                  </a:cubicBezTo>
                  <a:cubicBezTo>
                    <a:pt x="100" y="28"/>
                    <a:pt x="87" y="30"/>
                    <a:pt x="80" y="40"/>
                  </a:cubicBezTo>
                  <a:cubicBezTo>
                    <a:pt x="70" y="52"/>
                    <a:pt x="73" y="70"/>
                    <a:pt x="65" y="84"/>
                  </a:cubicBezTo>
                  <a:cubicBezTo>
                    <a:pt x="55" y="99"/>
                    <a:pt x="33" y="103"/>
                    <a:pt x="19" y="115"/>
                  </a:cubicBezTo>
                  <a:cubicBezTo>
                    <a:pt x="7" y="124"/>
                    <a:pt x="1" y="140"/>
                    <a:pt x="1" y="155"/>
                  </a:cubicBezTo>
                  <a:cubicBezTo>
                    <a:pt x="0" y="171"/>
                    <a:pt x="3" y="186"/>
                    <a:pt x="8" y="201"/>
                  </a:cubicBezTo>
                  <a:cubicBezTo>
                    <a:pt x="13" y="219"/>
                    <a:pt x="21" y="238"/>
                    <a:pt x="36" y="249"/>
                  </a:cubicBezTo>
                  <a:cubicBezTo>
                    <a:pt x="61" y="269"/>
                    <a:pt x="97" y="260"/>
                    <a:pt x="127" y="250"/>
                  </a:cubicBezTo>
                  <a:cubicBezTo>
                    <a:pt x="154" y="241"/>
                    <a:pt x="184" y="227"/>
                    <a:pt x="194" y="201"/>
                  </a:cubicBezTo>
                  <a:cubicBezTo>
                    <a:pt x="201" y="184"/>
                    <a:pt x="198" y="165"/>
                    <a:pt x="195" y="147"/>
                  </a:cubicBezTo>
                  <a:cubicBezTo>
                    <a:pt x="189" y="109"/>
                    <a:pt x="183" y="70"/>
                    <a:pt x="177" y="31"/>
                  </a:cubicBezTo>
                  <a:cubicBezTo>
                    <a:pt x="136" y="0"/>
                    <a:pt x="136" y="0"/>
                    <a:pt x="13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4" name="Freeform 55">
              <a:extLst>
                <a:ext uri="{FF2B5EF4-FFF2-40B4-BE49-F238E27FC236}">
                  <a16:creationId xmlns:a16="http://schemas.microsoft.com/office/drawing/2014/main" id="{9B68EDF7-3F34-4B7B-884F-9AA9CFC69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" y="2107"/>
              <a:ext cx="335" cy="489"/>
            </a:xfrm>
            <a:custGeom>
              <a:avLst/>
              <a:gdLst>
                <a:gd name="T0" fmla="*/ 13 w 141"/>
                <a:gd name="T1" fmla="*/ 206 h 206"/>
                <a:gd name="T2" fmla="*/ 11 w 141"/>
                <a:gd name="T3" fmla="*/ 204 h 206"/>
                <a:gd name="T4" fmla="*/ 7 w 141"/>
                <a:gd name="T5" fmla="*/ 197 h 206"/>
                <a:gd name="T6" fmla="*/ 1 w 141"/>
                <a:gd name="T7" fmla="*/ 168 h 206"/>
                <a:gd name="T8" fmla="*/ 2 w 141"/>
                <a:gd name="T9" fmla="*/ 148 h 206"/>
                <a:gd name="T10" fmla="*/ 11 w 141"/>
                <a:gd name="T11" fmla="*/ 126 h 206"/>
                <a:gd name="T12" fmla="*/ 52 w 141"/>
                <a:gd name="T13" fmla="*/ 93 h 206"/>
                <a:gd name="T14" fmla="*/ 75 w 141"/>
                <a:gd name="T15" fmla="*/ 79 h 206"/>
                <a:gd name="T16" fmla="*/ 86 w 141"/>
                <a:gd name="T17" fmla="*/ 57 h 206"/>
                <a:gd name="T18" fmla="*/ 94 w 141"/>
                <a:gd name="T19" fmla="*/ 35 h 206"/>
                <a:gd name="T20" fmla="*/ 107 w 141"/>
                <a:gd name="T21" fmla="*/ 19 h 206"/>
                <a:gd name="T22" fmla="*/ 131 w 141"/>
                <a:gd name="T23" fmla="*/ 3 h 206"/>
                <a:gd name="T24" fmla="*/ 138 w 141"/>
                <a:gd name="T25" fmla="*/ 0 h 206"/>
                <a:gd name="T26" fmla="*/ 141 w 141"/>
                <a:gd name="T27" fmla="*/ 0 h 206"/>
                <a:gd name="T28" fmla="*/ 131 w 141"/>
                <a:gd name="T29" fmla="*/ 4 h 206"/>
                <a:gd name="T30" fmla="*/ 108 w 141"/>
                <a:gd name="T31" fmla="*/ 20 h 206"/>
                <a:gd name="T32" fmla="*/ 96 w 141"/>
                <a:gd name="T33" fmla="*/ 36 h 206"/>
                <a:gd name="T34" fmla="*/ 87 w 141"/>
                <a:gd name="T35" fmla="*/ 57 h 206"/>
                <a:gd name="T36" fmla="*/ 77 w 141"/>
                <a:gd name="T37" fmla="*/ 81 h 206"/>
                <a:gd name="T38" fmla="*/ 53 w 141"/>
                <a:gd name="T39" fmla="*/ 95 h 206"/>
                <a:gd name="T40" fmla="*/ 13 w 141"/>
                <a:gd name="T41" fmla="*/ 127 h 206"/>
                <a:gd name="T42" fmla="*/ 2 w 141"/>
                <a:gd name="T43" fmla="*/ 168 h 206"/>
                <a:gd name="T44" fmla="*/ 8 w 141"/>
                <a:gd name="T45" fmla="*/ 196 h 206"/>
                <a:gd name="T46" fmla="*/ 13 w 141"/>
                <a:gd name="T47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1" h="206">
                  <a:moveTo>
                    <a:pt x="13" y="206"/>
                  </a:moveTo>
                  <a:cubicBezTo>
                    <a:pt x="13" y="206"/>
                    <a:pt x="12" y="205"/>
                    <a:pt x="11" y="204"/>
                  </a:cubicBezTo>
                  <a:cubicBezTo>
                    <a:pt x="10" y="202"/>
                    <a:pt x="9" y="200"/>
                    <a:pt x="7" y="197"/>
                  </a:cubicBezTo>
                  <a:cubicBezTo>
                    <a:pt x="4" y="190"/>
                    <a:pt x="1" y="181"/>
                    <a:pt x="1" y="168"/>
                  </a:cubicBezTo>
                  <a:cubicBezTo>
                    <a:pt x="0" y="162"/>
                    <a:pt x="1" y="155"/>
                    <a:pt x="2" y="148"/>
                  </a:cubicBezTo>
                  <a:cubicBezTo>
                    <a:pt x="4" y="141"/>
                    <a:pt x="7" y="133"/>
                    <a:pt x="11" y="126"/>
                  </a:cubicBezTo>
                  <a:cubicBezTo>
                    <a:pt x="20" y="112"/>
                    <a:pt x="34" y="99"/>
                    <a:pt x="52" y="93"/>
                  </a:cubicBezTo>
                  <a:cubicBezTo>
                    <a:pt x="61" y="89"/>
                    <a:pt x="69" y="86"/>
                    <a:pt x="75" y="79"/>
                  </a:cubicBezTo>
                  <a:cubicBezTo>
                    <a:pt x="81" y="73"/>
                    <a:pt x="83" y="65"/>
                    <a:pt x="86" y="57"/>
                  </a:cubicBezTo>
                  <a:cubicBezTo>
                    <a:pt x="88" y="49"/>
                    <a:pt x="90" y="42"/>
                    <a:pt x="94" y="35"/>
                  </a:cubicBezTo>
                  <a:cubicBezTo>
                    <a:pt x="98" y="29"/>
                    <a:pt x="102" y="23"/>
                    <a:pt x="107" y="19"/>
                  </a:cubicBezTo>
                  <a:cubicBezTo>
                    <a:pt x="115" y="10"/>
                    <a:pt x="125" y="5"/>
                    <a:pt x="131" y="3"/>
                  </a:cubicBezTo>
                  <a:cubicBezTo>
                    <a:pt x="134" y="2"/>
                    <a:pt x="137" y="1"/>
                    <a:pt x="138" y="0"/>
                  </a:cubicBezTo>
                  <a:cubicBezTo>
                    <a:pt x="140" y="0"/>
                    <a:pt x="141" y="0"/>
                    <a:pt x="141" y="0"/>
                  </a:cubicBezTo>
                  <a:cubicBezTo>
                    <a:pt x="141" y="0"/>
                    <a:pt x="138" y="1"/>
                    <a:pt x="131" y="4"/>
                  </a:cubicBezTo>
                  <a:cubicBezTo>
                    <a:pt x="125" y="6"/>
                    <a:pt x="116" y="11"/>
                    <a:pt x="108" y="20"/>
                  </a:cubicBezTo>
                  <a:cubicBezTo>
                    <a:pt x="103" y="24"/>
                    <a:pt x="99" y="30"/>
                    <a:pt x="96" y="36"/>
                  </a:cubicBezTo>
                  <a:cubicBezTo>
                    <a:pt x="92" y="42"/>
                    <a:pt x="90" y="50"/>
                    <a:pt x="87" y="57"/>
                  </a:cubicBezTo>
                  <a:cubicBezTo>
                    <a:pt x="85" y="65"/>
                    <a:pt x="83" y="74"/>
                    <a:pt x="77" y="81"/>
                  </a:cubicBezTo>
                  <a:cubicBezTo>
                    <a:pt x="70" y="88"/>
                    <a:pt x="61" y="91"/>
                    <a:pt x="53" y="95"/>
                  </a:cubicBezTo>
                  <a:cubicBezTo>
                    <a:pt x="35" y="101"/>
                    <a:pt x="21" y="113"/>
                    <a:pt x="13" y="127"/>
                  </a:cubicBezTo>
                  <a:cubicBezTo>
                    <a:pt x="4" y="141"/>
                    <a:pt x="2" y="156"/>
                    <a:pt x="2" y="168"/>
                  </a:cubicBezTo>
                  <a:cubicBezTo>
                    <a:pt x="2" y="180"/>
                    <a:pt x="5" y="190"/>
                    <a:pt x="8" y="196"/>
                  </a:cubicBezTo>
                  <a:cubicBezTo>
                    <a:pt x="11" y="203"/>
                    <a:pt x="13" y="206"/>
                    <a:pt x="13" y="20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5" name="Freeform 56">
              <a:extLst>
                <a:ext uri="{FF2B5EF4-FFF2-40B4-BE49-F238E27FC236}">
                  <a16:creationId xmlns:a16="http://schemas.microsoft.com/office/drawing/2014/main" id="{15F93DAB-22FC-4E0D-9363-F71C3A3A9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0" y="2251"/>
              <a:ext cx="691" cy="1155"/>
            </a:xfrm>
            <a:custGeom>
              <a:avLst/>
              <a:gdLst>
                <a:gd name="T0" fmla="*/ 63 w 291"/>
                <a:gd name="T1" fmla="*/ 335 h 486"/>
                <a:gd name="T2" fmla="*/ 2 w 291"/>
                <a:gd name="T3" fmla="*/ 479 h 486"/>
                <a:gd name="T4" fmla="*/ 0 w 291"/>
                <a:gd name="T5" fmla="*/ 485 h 486"/>
                <a:gd name="T6" fmla="*/ 291 w 291"/>
                <a:gd name="T7" fmla="*/ 486 h 486"/>
                <a:gd name="T8" fmla="*/ 287 w 291"/>
                <a:gd name="T9" fmla="*/ 215 h 486"/>
                <a:gd name="T10" fmla="*/ 287 w 291"/>
                <a:gd name="T11" fmla="*/ 214 h 486"/>
                <a:gd name="T12" fmla="*/ 263 w 291"/>
                <a:gd name="T13" fmla="*/ 21 h 486"/>
                <a:gd name="T14" fmla="*/ 259 w 291"/>
                <a:gd name="T15" fmla="*/ 17 h 486"/>
                <a:gd name="T16" fmla="*/ 175 w 291"/>
                <a:gd name="T17" fmla="*/ 2 h 486"/>
                <a:gd name="T18" fmla="*/ 83 w 291"/>
                <a:gd name="T19" fmla="*/ 8 h 486"/>
                <a:gd name="T20" fmla="*/ 25 w 291"/>
                <a:gd name="T21" fmla="*/ 17 h 486"/>
                <a:gd name="T22" fmla="*/ 4 w 291"/>
                <a:gd name="T23" fmla="*/ 35 h 486"/>
                <a:gd name="T24" fmla="*/ 32 w 291"/>
                <a:gd name="T25" fmla="*/ 202 h 486"/>
                <a:gd name="T26" fmla="*/ 63 w 291"/>
                <a:gd name="T27" fmla="*/ 33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1" h="486">
                  <a:moveTo>
                    <a:pt x="63" y="335"/>
                  </a:moveTo>
                  <a:cubicBezTo>
                    <a:pt x="68" y="335"/>
                    <a:pt x="12" y="451"/>
                    <a:pt x="2" y="479"/>
                  </a:cubicBezTo>
                  <a:cubicBezTo>
                    <a:pt x="1" y="482"/>
                    <a:pt x="0" y="485"/>
                    <a:pt x="0" y="485"/>
                  </a:cubicBezTo>
                  <a:cubicBezTo>
                    <a:pt x="291" y="486"/>
                    <a:pt x="291" y="486"/>
                    <a:pt x="291" y="486"/>
                  </a:cubicBezTo>
                  <a:cubicBezTo>
                    <a:pt x="287" y="215"/>
                    <a:pt x="287" y="215"/>
                    <a:pt x="287" y="215"/>
                  </a:cubicBezTo>
                  <a:cubicBezTo>
                    <a:pt x="287" y="214"/>
                    <a:pt x="287" y="214"/>
                    <a:pt x="287" y="214"/>
                  </a:cubicBezTo>
                  <a:cubicBezTo>
                    <a:pt x="263" y="21"/>
                    <a:pt x="263" y="21"/>
                    <a:pt x="263" y="21"/>
                  </a:cubicBezTo>
                  <a:cubicBezTo>
                    <a:pt x="263" y="19"/>
                    <a:pt x="261" y="17"/>
                    <a:pt x="259" y="17"/>
                  </a:cubicBezTo>
                  <a:cubicBezTo>
                    <a:pt x="248" y="14"/>
                    <a:pt x="206" y="3"/>
                    <a:pt x="175" y="2"/>
                  </a:cubicBezTo>
                  <a:cubicBezTo>
                    <a:pt x="137" y="0"/>
                    <a:pt x="83" y="8"/>
                    <a:pt x="83" y="8"/>
                  </a:cubicBezTo>
                  <a:cubicBezTo>
                    <a:pt x="83" y="8"/>
                    <a:pt x="51" y="8"/>
                    <a:pt x="25" y="17"/>
                  </a:cubicBezTo>
                  <a:cubicBezTo>
                    <a:pt x="23" y="18"/>
                    <a:pt x="4" y="33"/>
                    <a:pt x="4" y="35"/>
                  </a:cubicBezTo>
                  <a:cubicBezTo>
                    <a:pt x="32" y="202"/>
                    <a:pt x="32" y="202"/>
                    <a:pt x="32" y="202"/>
                  </a:cubicBezTo>
                  <a:cubicBezTo>
                    <a:pt x="63" y="335"/>
                    <a:pt x="63" y="335"/>
                    <a:pt x="63" y="335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6" name="Freeform 57">
              <a:extLst>
                <a:ext uri="{FF2B5EF4-FFF2-40B4-BE49-F238E27FC236}">
                  <a16:creationId xmlns:a16="http://schemas.microsoft.com/office/drawing/2014/main" id="{169B390B-8D88-4035-85E4-87EC4E3B3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660"/>
              <a:ext cx="553" cy="247"/>
            </a:xfrm>
            <a:custGeom>
              <a:avLst/>
              <a:gdLst>
                <a:gd name="T0" fmla="*/ 233 w 233"/>
                <a:gd name="T1" fmla="*/ 0 h 104"/>
                <a:gd name="T2" fmla="*/ 232 w 233"/>
                <a:gd name="T3" fmla="*/ 1 h 104"/>
                <a:gd name="T4" fmla="*/ 231 w 233"/>
                <a:gd name="T5" fmla="*/ 3 h 104"/>
                <a:gd name="T6" fmla="*/ 223 w 233"/>
                <a:gd name="T7" fmla="*/ 11 h 104"/>
                <a:gd name="T8" fmla="*/ 186 w 233"/>
                <a:gd name="T9" fmla="*/ 26 h 104"/>
                <a:gd name="T10" fmla="*/ 173 w 233"/>
                <a:gd name="T11" fmla="*/ 25 h 104"/>
                <a:gd name="T12" fmla="*/ 160 w 233"/>
                <a:gd name="T13" fmla="*/ 18 h 104"/>
                <a:gd name="T14" fmla="*/ 157 w 233"/>
                <a:gd name="T15" fmla="*/ 11 h 104"/>
                <a:gd name="T16" fmla="*/ 160 w 233"/>
                <a:gd name="T17" fmla="*/ 3 h 104"/>
                <a:gd name="T18" fmla="*/ 168 w 233"/>
                <a:gd name="T19" fmla="*/ 0 h 104"/>
                <a:gd name="T20" fmla="*/ 177 w 233"/>
                <a:gd name="T21" fmla="*/ 3 h 104"/>
                <a:gd name="T22" fmla="*/ 191 w 233"/>
                <a:gd name="T23" fmla="*/ 34 h 104"/>
                <a:gd name="T24" fmla="*/ 174 w 233"/>
                <a:gd name="T25" fmla="*/ 67 h 104"/>
                <a:gd name="T26" fmla="*/ 156 w 233"/>
                <a:gd name="T27" fmla="*/ 74 h 104"/>
                <a:gd name="T28" fmla="*/ 137 w 233"/>
                <a:gd name="T29" fmla="*/ 75 h 104"/>
                <a:gd name="T30" fmla="*/ 102 w 233"/>
                <a:gd name="T31" fmla="*/ 70 h 104"/>
                <a:gd name="T32" fmla="*/ 44 w 233"/>
                <a:gd name="T33" fmla="*/ 73 h 104"/>
                <a:gd name="T34" fmla="*/ 10 w 233"/>
                <a:gd name="T35" fmla="*/ 93 h 104"/>
                <a:gd name="T36" fmla="*/ 0 w 233"/>
                <a:gd name="T37" fmla="*/ 104 h 104"/>
                <a:gd name="T38" fmla="*/ 1 w 233"/>
                <a:gd name="T39" fmla="*/ 103 h 104"/>
                <a:gd name="T40" fmla="*/ 2 w 233"/>
                <a:gd name="T41" fmla="*/ 100 h 104"/>
                <a:gd name="T42" fmla="*/ 9 w 233"/>
                <a:gd name="T43" fmla="*/ 92 h 104"/>
                <a:gd name="T44" fmla="*/ 43 w 233"/>
                <a:gd name="T45" fmla="*/ 72 h 104"/>
                <a:gd name="T46" fmla="*/ 102 w 233"/>
                <a:gd name="T47" fmla="*/ 68 h 104"/>
                <a:gd name="T48" fmla="*/ 137 w 233"/>
                <a:gd name="T49" fmla="*/ 73 h 104"/>
                <a:gd name="T50" fmla="*/ 155 w 233"/>
                <a:gd name="T51" fmla="*/ 72 h 104"/>
                <a:gd name="T52" fmla="*/ 172 w 233"/>
                <a:gd name="T53" fmla="*/ 65 h 104"/>
                <a:gd name="T54" fmla="*/ 189 w 233"/>
                <a:gd name="T55" fmla="*/ 34 h 104"/>
                <a:gd name="T56" fmla="*/ 176 w 233"/>
                <a:gd name="T57" fmla="*/ 4 h 104"/>
                <a:gd name="T58" fmla="*/ 168 w 233"/>
                <a:gd name="T59" fmla="*/ 2 h 104"/>
                <a:gd name="T60" fmla="*/ 161 w 233"/>
                <a:gd name="T61" fmla="*/ 4 h 104"/>
                <a:gd name="T62" fmla="*/ 159 w 233"/>
                <a:gd name="T63" fmla="*/ 11 h 104"/>
                <a:gd name="T64" fmla="*/ 161 w 233"/>
                <a:gd name="T65" fmla="*/ 17 h 104"/>
                <a:gd name="T66" fmla="*/ 173 w 233"/>
                <a:gd name="T67" fmla="*/ 23 h 104"/>
                <a:gd name="T68" fmla="*/ 186 w 233"/>
                <a:gd name="T69" fmla="*/ 24 h 104"/>
                <a:gd name="T70" fmla="*/ 223 w 233"/>
                <a:gd name="T71" fmla="*/ 11 h 104"/>
                <a:gd name="T72" fmla="*/ 233 w 233"/>
                <a:gd name="T7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3" h="104">
                  <a:moveTo>
                    <a:pt x="233" y="0"/>
                  </a:moveTo>
                  <a:cubicBezTo>
                    <a:pt x="233" y="0"/>
                    <a:pt x="233" y="1"/>
                    <a:pt x="232" y="1"/>
                  </a:cubicBezTo>
                  <a:cubicBezTo>
                    <a:pt x="232" y="2"/>
                    <a:pt x="231" y="2"/>
                    <a:pt x="231" y="3"/>
                  </a:cubicBezTo>
                  <a:cubicBezTo>
                    <a:pt x="229" y="5"/>
                    <a:pt x="227" y="8"/>
                    <a:pt x="223" y="11"/>
                  </a:cubicBezTo>
                  <a:cubicBezTo>
                    <a:pt x="216" y="17"/>
                    <a:pt x="203" y="25"/>
                    <a:pt x="186" y="26"/>
                  </a:cubicBezTo>
                  <a:cubicBezTo>
                    <a:pt x="182" y="26"/>
                    <a:pt x="178" y="26"/>
                    <a:pt x="173" y="25"/>
                  </a:cubicBezTo>
                  <a:cubicBezTo>
                    <a:pt x="168" y="24"/>
                    <a:pt x="163" y="22"/>
                    <a:pt x="160" y="18"/>
                  </a:cubicBezTo>
                  <a:cubicBezTo>
                    <a:pt x="158" y="16"/>
                    <a:pt x="157" y="14"/>
                    <a:pt x="157" y="11"/>
                  </a:cubicBezTo>
                  <a:cubicBezTo>
                    <a:pt x="157" y="8"/>
                    <a:pt x="158" y="5"/>
                    <a:pt x="160" y="3"/>
                  </a:cubicBezTo>
                  <a:cubicBezTo>
                    <a:pt x="162" y="1"/>
                    <a:pt x="165" y="0"/>
                    <a:pt x="168" y="0"/>
                  </a:cubicBezTo>
                  <a:cubicBezTo>
                    <a:pt x="171" y="0"/>
                    <a:pt x="174" y="1"/>
                    <a:pt x="177" y="3"/>
                  </a:cubicBezTo>
                  <a:cubicBezTo>
                    <a:pt x="186" y="9"/>
                    <a:pt x="191" y="22"/>
                    <a:pt x="191" y="34"/>
                  </a:cubicBezTo>
                  <a:cubicBezTo>
                    <a:pt x="190" y="46"/>
                    <a:pt x="185" y="59"/>
                    <a:pt x="174" y="67"/>
                  </a:cubicBezTo>
                  <a:cubicBezTo>
                    <a:pt x="168" y="71"/>
                    <a:pt x="162" y="73"/>
                    <a:pt x="156" y="74"/>
                  </a:cubicBezTo>
                  <a:cubicBezTo>
                    <a:pt x="149" y="75"/>
                    <a:pt x="143" y="75"/>
                    <a:pt x="137" y="75"/>
                  </a:cubicBezTo>
                  <a:cubicBezTo>
                    <a:pt x="125" y="74"/>
                    <a:pt x="113" y="71"/>
                    <a:pt x="102" y="70"/>
                  </a:cubicBezTo>
                  <a:cubicBezTo>
                    <a:pt x="80" y="68"/>
                    <a:pt x="60" y="69"/>
                    <a:pt x="44" y="73"/>
                  </a:cubicBezTo>
                  <a:cubicBezTo>
                    <a:pt x="28" y="78"/>
                    <a:pt x="16" y="86"/>
                    <a:pt x="10" y="93"/>
                  </a:cubicBezTo>
                  <a:cubicBezTo>
                    <a:pt x="3" y="99"/>
                    <a:pt x="0" y="104"/>
                    <a:pt x="0" y="104"/>
                  </a:cubicBezTo>
                  <a:cubicBezTo>
                    <a:pt x="0" y="104"/>
                    <a:pt x="0" y="103"/>
                    <a:pt x="1" y="103"/>
                  </a:cubicBezTo>
                  <a:cubicBezTo>
                    <a:pt x="1" y="102"/>
                    <a:pt x="1" y="101"/>
                    <a:pt x="2" y="100"/>
                  </a:cubicBezTo>
                  <a:cubicBezTo>
                    <a:pt x="3" y="98"/>
                    <a:pt x="6" y="95"/>
                    <a:pt x="9" y="92"/>
                  </a:cubicBezTo>
                  <a:cubicBezTo>
                    <a:pt x="15" y="85"/>
                    <a:pt x="27" y="77"/>
                    <a:pt x="43" y="72"/>
                  </a:cubicBezTo>
                  <a:cubicBezTo>
                    <a:pt x="60" y="67"/>
                    <a:pt x="80" y="66"/>
                    <a:pt x="102" y="68"/>
                  </a:cubicBezTo>
                  <a:cubicBezTo>
                    <a:pt x="113" y="69"/>
                    <a:pt x="125" y="72"/>
                    <a:pt x="137" y="73"/>
                  </a:cubicBezTo>
                  <a:cubicBezTo>
                    <a:pt x="143" y="73"/>
                    <a:pt x="149" y="73"/>
                    <a:pt x="155" y="72"/>
                  </a:cubicBezTo>
                  <a:cubicBezTo>
                    <a:pt x="161" y="71"/>
                    <a:pt x="167" y="69"/>
                    <a:pt x="172" y="65"/>
                  </a:cubicBezTo>
                  <a:cubicBezTo>
                    <a:pt x="183" y="58"/>
                    <a:pt x="188" y="46"/>
                    <a:pt x="189" y="34"/>
                  </a:cubicBezTo>
                  <a:cubicBezTo>
                    <a:pt x="189" y="22"/>
                    <a:pt x="184" y="10"/>
                    <a:pt x="176" y="4"/>
                  </a:cubicBezTo>
                  <a:cubicBezTo>
                    <a:pt x="173" y="3"/>
                    <a:pt x="171" y="2"/>
                    <a:pt x="168" y="2"/>
                  </a:cubicBezTo>
                  <a:cubicBezTo>
                    <a:pt x="166" y="2"/>
                    <a:pt x="163" y="3"/>
                    <a:pt x="161" y="4"/>
                  </a:cubicBezTo>
                  <a:cubicBezTo>
                    <a:pt x="160" y="6"/>
                    <a:pt x="159" y="8"/>
                    <a:pt x="159" y="11"/>
                  </a:cubicBezTo>
                  <a:cubicBezTo>
                    <a:pt x="159" y="13"/>
                    <a:pt x="160" y="15"/>
                    <a:pt x="161" y="17"/>
                  </a:cubicBezTo>
                  <a:cubicBezTo>
                    <a:pt x="164" y="21"/>
                    <a:pt x="169" y="22"/>
                    <a:pt x="173" y="23"/>
                  </a:cubicBezTo>
                  <a:cubicBezTo>
                    <a:pt x="178" y="24"/>
                    <a:pt x="182" y="24"/>
                    <a:pt x="186" y="24"/>
                  </a:cubicBezTo>
                  <a:cubicBezTo>
                    <a:pt x="203" y="23"/>
                    <a:pt x="215" y="16"/>
                    <a:pt x="223" y="11"/>
                  </a:cubicBezTo>
                  <a:cubicBezTo>
                    <a:pt x="230" y="5"/>
                    <a:pt x="233" y="0"/>
                    <a:pt x="233" y="0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7" name="Freeform 58">
              <a:extLst>
                <a:ext uri="{FF2B5EF4-FFF2-40B4-BE49-F238E27FC236}">
                  <a16:creationId xmlns:a16="http://schemas.microsoft.com/office/drawing/2014/main" id="{DC5290AE-B3AB-400D-BFF8-F0FC8EF0D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2772"/>
              <a:ext cx="183" cy="118"/>
            </a:xfrm>
            <a:custGeom>
              <a:avLst/>
              <a:gdLst>
                <a:gd name="T0" fmla="*/ 77 w 77"/>
                <a:gd name="T1" fmla="*/ 0 h 50"/>
                <a:gd name="T2" fmla="*/ 75 w 77"/>
                <a:gd name="T3" fmla="*/ 4 h 50"/>
                <a:gd name="T4" fmla="*/ 73 w 77"/>
                <a:gd name="T5" fmla="*/ 8 h 50"/>
                <a:gd name="T6" fmla="*/ 70 w 77"/>
                <a:gd name="T7" fmla="*/ 13 h 50"/>
                <a:gd name="T8" fmla="*/ 66 w 77"/>
                <a:gd name="T9" fmla="*/ 18 h 50"/>
                <a:gd name="T10" fmla="*/ 60 w 77"/>
                <a:gd name="T11" fmla="*/ 25 h 50"/>
                <a:gd name="T12" fmla="*/ 46 w 77"/>
                <a:gd name="T13" fmla="*/ 37 h 50"/>
                <a:gd name="T14" fmla="*/ 29 w 77"/>
                <a:gd name="T15" fmla="*/ 45 h 50"/>
                <a:gd name="T16" fmla="*/ 21 w 77"/>
                <a:gd name="T17" fmla="*/ 48 h 50"/>
                <a:gd name="T18" fmla="*/ 14 w 77"/>
                <a:gd name="T19" fmla="*/ 49 h 50"/>
                <a:gd name="T20" fmla="*/ 8 w 77"/>
                <a:gd name="T21" fmla="*/ 50 h 50"/>
                <a:gd name="T22" fmla="*/ 4 w 77"/>
                <a:gd name="T23" fmla="*/ 50 h 50"/>
                <a:gd name="T24" fmla="*/ 0 w 77"/>
                <a:gd name="T25" fmla="*/ 50 h 50"/>
                <a:gd name="T26" fmla="*/ 14 w 77"/>
                <a:gd name="T27" fmla="*/ 48 h 50"/>
                <a:gd name="T28" fmla="*/ 21 w 77"/>
                <a:gd name="T29" fmla="*/ 47 h 50"/>
                <a:gd name="T30" fmla="*/ 28 w 77"/>
                <a:gd name="T31" fmla="*/ 44 h 50"/>
                <a:gd name="T32" fmla="*/ 45 w 77"/>
                <a:gd name="T33" fmla="*/ 35 h 50"/>
                <a:gd name="T34" fmla="*/ 59 w 77"/>
                <a:gd name="T35" fmla="*/ 24 h 50"/>
                <a:gd name="T36" fmla="*/ 65 w 77"/>
                <a:gd name="T37" fmla="*/ 18 h 50"/>
                <a:gd name="T38" fmla="*/ 69 w 77"/>
                <a:gd name="T39" fmla="*/ 12 h 50"/>
                <a:gd name="T40" fmla="*/ 77 w 77"/>
                <a:gd name="T4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" h="50">
                  <a:moveTo>
                    <a:pt x="77" y="0"/>
                  </a:moveTo>
                  <a:cubicBezTo>
                    <a:pt x="77" y="0"/>
                    <a:pt x="76" y="1"/>
                    <a:pt x="75" y="4"/>
                  </a:cubicBezTo>
                  <a:cubicBezTo>
                    <a:pt x="75" y="5"/>
                    <a:pt x="74" y="6"/>
                    <a:pt x="73" y="8"/>
                  </a:cubicBezTo>
                  <a:cubicBezTo>
                    <a:pt x="72" y="9"/>
                    <a:pt x="71" y="11"/>
                    <a:pt x="70" y="13"/>
                  </a:cubicBezTo>
                  <a:cubicBezTo>
                    <a:pt x="69" y="14"/>
                    <a:pt x="67" y="16"/>
                    <a:pt x="66" y="18"/>
                  </a:cubicBezTo>
                  <a:cubicBezTo>
                    <a:pt x="64" y="20"/>
                    <a:pt x="62" y="22"/>
                    <a:pt x="60" y="25"/>
                  </a:cubicBezTo>
                  <a:cubicBezTo>
                    <a:pt x="56" y="29"/>
                    <a:pt x="51" y="33"/>
                    <a:pt x="46" y="37"/>
                  </a:cubicBezTo>
                  <a:cubicBezTo>
                    <a:pt x="40" y="40"/>
                    <a:pt x="34" y="43"/>
                    <a:pt x="29" y="45"/>
                  </a:cubicBezTo>
                  <a:cubicBezTo>
                    <a:pt x="26" y="46"/>
                    <a:pt x="23" y="47"/>
                    <a:pt x="21" y="48"/>
                  </a:cubicBezTo>
                  <a:cubicBezTo>
                    <a:pt x="18" y="48"/>
                    <a:pt x="16" y="49"/>
                    <a:pt x="14" y="49"/>
                  </a:cubicBezTo>
                  <a:cubicBezTo>
                    <a:pt x="12" y="50"/>
                    <a:pt x="10" y="50"/>
                    <a:pt x="8" y="50"/>
                  </a:cubicBezTo>
                  <a:cubicBezTo>
                    <a:pt x="6" y="50"/>
                    <a:pt x="5" y="50"/>
                    <a:pt x="4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5" y="50"/>
                    <a:pt x="14" y="48"/>
                  </a:cubicBezTo>
                  <a:cubicBezTo>
                    <a:pt x="16" y="48"/>
                    <a:pt x="18" y="47"/>
                    <a:pt x="21" y="47"/>
                  </a:cubicBezTo>
                  <a:cubicBezTo>
                    <a:pt x="23" y="46"/>
                    <a:pt x="26" y="45"/>
                    <a:pt x="28" y="44"/>
                  </a:cubicBezTo>
                  <a:cubicBezTo>
                    <a:pt x="34" y="42"/>
                    <a:pt x="39" y="39"/>
                    <a:pt x="45" y="35"/>
                  </a:cubicBezTo>
                  <a:cubicBezTo>
                    <a:pt x="50" y="32"/>
                    <a:pt x="55" y="28"/>
                    <a:pt x="59" y="24"/>
                  </a:cubicBezTo>
                  <a:cubicBezTo>
                    <a:pt x="61" y="22"/>
                    <a:pt x="63" y="20"/>
                    <a:pt x="65" y="18"/>
                  </a:cubicBezTo>
                  <a:cubicBezTo>
                    <a:pt x="66" y="16"/>
                    <a:pt x="68" y="14"/>
                    <a:pt x="69" y="12"/>
                  </a:cubicBezTo>
                  <a:cubicBezTo>
                    <a:pt x="74" y="5"/>
                    <a:pt x="76" y="0"/>
                    <a:pt x="7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8" name="Freeform 59">
              <a:extLst>
                <a:ext uri="{FF2B5EF4-FFF2-40B4-BE49-F238E27FC236}">
                  <a16:creationId xmlns:a16="http://schemas.microsoft.com/office/drawing/2014/main" id="{8206ACE6-7A23-4912-BC97-7F658B9E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" y="2292"/>
              <a:ext cx="472" cy="1033"/>
            </a:xfrm>
            <a:custGeom>
              <a:avLst/>
              <a:gdLst>
                <a:gd name="T0" fmla="*/ 123 w 199"/>
                <a:gd name="T1" fmla="*/ 0 h 435"/>
                <a:gd name="T2" fmla="*/ 33 w 199"/>
                <a:gd name="T3" fmla="*/ 105 h 435"/>
                <a:gd name="T4" fmla="*/ 51 w 199"/>
                <a:gd name="T5" fmla="*/ 392 h 435"/>
                <a:gd name="T6" fmla="*/ 199 w 199"/>
                <a:gd name="T7" fmla="*/ 396 h 435"/>
                <a:gd name="T8" fmla="*/ 189 w 199"/>
                <a:gd name="T9" fmla="*/ 291 h 435"/>
                <a:gd name="T10" fmla="*/ 135 w 199"/>
                <a:gd name="T11" fmla="*/ 291 h 435"/>
                <a:gd name="T12" fmla="*/ 128 w 199"/>
                <a:gd name="T13" fmla="*/ 176 h 435"/>
                <a:gd name="T14" fmla="*/ 123 w 199"/>
                <a:gd name="T15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435">
                  <a:moveTo>
                    <a:pt x="123" y="0"/>
                  </a:moveTo>
                  <a:cubicBezTo>
                    <a:pt x="123" y="0"/>
                    <a:pt x="50" y="22"/>
                    <a:pt x="33" y="105"/>
                  </a:cubicBezTo>
                  <a:cubicBezTo>
                    <a:pt x="26" y="142"/>
                    <a:pt x="0" y="358"/>
                    <a:pt x="51" y="392"/>
                  </a:cubicBezTo>
                  <a:cubicBezTo>
                    <a:pt x="116" y="435"/>
                    <a:pt x="199" y="396"/>
                    <a:pt x="199" y="396"/>
                  </a:cubicBezTo>
                  <a:cubicBezTo>
                    <a:pt x="189" y="291"/>
                    <a:pt x="189" y="291"/>
                    <a:pt x="189" y="291"/>
                  </a:cubicBezTo>
                  <a:cubicBezTo>
                    <a:pt x="135" y="291"/>
                    <a:pt x="135" y="291"/>
                    <a:pt x="135" y="291"/>
                  </a:cubicBezTo>
                  <a:cubicBezTo>
                    <a:pt x="128" y="176"/>
                    <a:pt x="128" y="176"/>
                    <a:pt x="128" y="176"/>
                  </a:cubicBezTo>
                  <a:cubicBezTo>
                    <a:pt x="130" y="184"/>
                    <a:pt x="123" y="0"/>
                    <a:pt x="123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9" name="Freeform 60">
              <a:extLst>
                <a:ext uri="{FF2B5EF4-FFF2-40B4-BE49-F238E27FC236}">
                  <a16:creationId xmlns:a16="http://schemas.microsoft.com/office/drawing/2014/main" id="{C68BB36D-98EF-467C-942D-0D7C91DA26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3" y="2294"/>
              <a:ext cx="313" cy="858"/>
            </a:xfrm>
            <a:custGeom>
              <a:avLst/>
              <a:gdLst>
                <a:gd name="T0" fmla="*/ 71 w 132"/>
                <a:gd name="T1" fmla="*/ 361 h 361"/>
                <a:gd name="T2" fmla="*/ 115 w 132"/>
                <a:gd name="T3" fmla="*/ 338 h 361"/>
                <a:gd name="T4" fmla="*/ 132 w 132"/>
                <a:gd name="T5" fmla="*/ 291 h 361"/>
                <a:gd name="T6" fmla="*/ 96 w 132"/>
                <a:gd name="T7" fmla="*/ 141 h 361"/>
                <a:gd name="T8" fmla="*/ 0 w 132"/>
                <a:gd name="T9" fmla="*/ 0 h 361"/>
                <a:gd name="T10" fmla="*/ 25 w 132"/>
                <a:gd name="T11" fmla="*/ 197 h 361"/>
                <a:gd name="T12" fmla="*/ 23 w 132"/>
                <a:gd name="T13" fmla="*/ 238 h 361"/>
                <a:gd name="T14" fmla="*/ 27 w 132"/>
                <a:gd name="T15" fmla="*/ 317 h 361"/>
                <a:gd name="T16" fmla="*/ 71 w 132"/>
                <a:gd name="T17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361">
                  <a:moveTo>
                    <a:pt x="71" y="361"/>
                  </a:moveTo>
                  <a:cubicBezTo>
                    <a:pt x="88" y="359"/>
                    <a:pt x="104" y="351"/>
                    <a:pt x="115" y="338"/>
                  </a:cubicBezTo>
                  <a:cubicBezTo>
                    <a:pt x="126" y="325"/>
                    <a:pt x="132" y="308"/>
                    <a:pt x="132" y="291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41"/>
                    <a:pt x="73" y="11"/>
                    <a:pt x="0" y="0"/>
                  </a:cubicBezTo>
                  <a:cubicBezTo>
                    <a:pt x="25" y="197"/>
                    <a:pt x="25" y="197"/>
                    <a:pt x="25" y="197"/>
                  </a:cubicBezTo>
                  <a:cubicBezTo>
                    <a:pt x="23" y="238"/>
                    <a:pt x="23" y="238"/>
                    <a:pt x="23" y="238"/>
                  </a:cubicBezTo>
                  <a:cubicBezTo>
                    <a:pt x="23" y="238"/>
                    <a:pt x="24" y="266"/>
                    <a:pt x="27" y="317"/>
                  </a:cubicBezTo>
                  <a:cubicBezTo>
                    <a:pt x="71" y="361"/>
                    <a:pt x="71" y="361"/>
                    <a:pt x="71" y="361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0" name="Freeform 61">
              <a:extLst>
                <a:ext uri="{FF2B5EF4-FFF2-40B4-BE49-F238E27FC236}">
                  <a16:creationId xmlns:a16="http://schemas.microsoft.com/office/drawing/2014/main" id="{57CF1E2C-6799-4AA9-8154-34EC718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" y="2926"/>
              <a:ext cx="136" cy="138"/>
            </a:xfrm>
            <a:custGeom>
              <a:avLst/>
              <a:gdLst>
                <a:gd name="T0" fmla="*/ 57 w 57"/>
                <a:gd name="T1" fmla="*/ 1 h 58"/>
                <a:gd name="T2" fmla="*/ 44 w 57"/>
                <a:gd name="T3" fmla="*/ 2 h 58"/>
                <a:gd name="T4" fmla="*/ 16 w 57"/>
                <a:gd name="T5" fmla="*/ 17 h 58"/>
                <a:gd name="T6" fmla="*/ 2 w 57"/>
                <a:gd name="T7" fmla="*/ 45 h 58"/>
                <a:gd name="T8" fmla="*/ 1 w 57"/>
                <a:gd name="T9" fmla="*/ 58 h 58"/>
                <a:gd name="T10" fmla="*/ 0 w 57"/>
                <a:gd name="T11" fmla="*/ 54 h 58"/>
                <a:gd name="T12" fmla="*/ 1 w 57"/>
                <a:gd name="T13" fmla="*/ 44 h 58"/>
                <a:gd name="T14" fmla="*/ 15 w 57"/>
                <a:gd name="T15" fmla="*/ 16 h 58"/>
                <a:gd name="T16" fmla="*/ 43 w 57"/>
                <a:gd name="T17" fmla="*/ 1 h 58"/>
                <a:gd name="T18" fmla="*/ 53 w 57"/>
                <a:gd name="T19" fmla="*/ 0 h 58"/>
                <a:gd name="T20" fmla="*/ 57 w 57"/>
                <a:gd name="T2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58">
                  <a:moveTo>
                    <a:pt x="57" y="1"/>
                  </a:moveTo>
                  <a:cubicBezTo>
                    <a:pt x="57" y="1"/>
                    <a:pt x="52" y="0"/>
                    <a:pt x="44" y="2"/>
                  </a:cubicBezTo>
                  <a:cubicBezTo>
                    <a:pt x="36" y="4"/>
                    <a:pt x="25" y="8"/>
                    <a:pt x="16" y="17"/>
                  </a:cubicBezTo>
                  <a:cubicBezTo>
                    <a:pt x="8" y="26"/>
                    <a:pt x="3" y="37"/>
                    <a:pt x="2" y="45"/>
                  </a:cubicBezTo>
                  <a:cubicBezTo>
                    <a:pt x="0" y="53"/>
                    <a:pt x="1" y="58"/>
                    <a:pt x="1" y="58"/>
                  </a:cubicBezTo>
                  <a:cubicBezTo>
                    <a:pt x="1" y="58"/>
                    <a:pt x="0" y="56"/>
                    <a:pt x="0" y="54"/>
                  </a:cubicBezTo>
                  <a:cubicBezTo>
                    <a:pt x="0" y="52"/>
                    <a:pt x="0" y="48"/>
                    <a:pt x="1" y="44"/>
                  </a:cubicBezTo>
                  <a:cubicBezTo>
                    <a:pt x="2" y="36"/>
                    <a:pt x="6" y="25"/>
                    <a:pt x="15" y="16"/>
                  </a:cubicBezTo>
                  <a:cubicBezTo>
                    <a:pt x="24" y="7"/>
                    <a:pt x="35" y="2"/>
                    <a:pt x="43" y="1"/>
                  </a:cubicBezTo>
                  <a:cubicBezTo>
                    <a:pt x="48" y="0"/>
                    <a:pt x="51" y="0"/>
                    <a:pt x="53" y="0"/>
                  </a:cubicBezTo>
                  <a:cubicBezTo>
                    <a:pt x="55" y="0"/>
                    <a:pt x="57" y="0"/>
                    <a:pt x="57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1" name="Freeform 62">
              <a:extLst>
                <a:ext uri="{FF2B5EF4-FFF2-40B4-BE49-F238E27FC236}">
                  <a16:creationId xmlns:a16="http://schemas.microsoft.com/office/drawing/2014/main" id="{E6DA7B53-F7F9-471A-8976-37F47E3C8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539"/>
              <a:ext cx="26" cy="496"/>
            </a:xfrm>
            <a:custGeom>
              <a:avLst/>
              <a:gdLst>
                <a:gd name="T0" fmla="*/ 0 w 11"/>
                <a:gd name="T1" fmla="*/ 0 h 209"/>
                <a:gd name="T2" fmla="*/ 1 w 11"/>
                <a:gd name="T3" fmla="*/ 2 h 209"/>
                <a:gd name="T4" fmla="*/ 1 w 11"/>
                <a:gd name="T5" fmla="*/ 8 h 209"/>
                <a:gd name="T6" fmla="*/ 2 w 11"/>
                <a:gd name="T7" fmla="*/ 31 h 209"/>
                <a:gd name="T8" fmla="*/ 6 w 11"/>
                <a:gd name="T9" fmla="*/ 104 h 209"/>
                <a:gd name="T10" fmla="*/ 10 w 11"/>
                <a:gd name="T11" fmla="*/ 178 h 209"/>
                <a:gd name="T12" fmla="*/ 11 w 11"/>
                <a:gd name="T13" fmla="*/ 200 h 209"/>
                <a:gd name="T14" fmla="*/ 11 w 11"/>
                <a:gd name="T15" fmla="*/ 206 h 209"/>
                <a:gd name="T16" fmla="*/ 11 w 11"/>
                <a:gd name="T17" fmla="*/ 209 h 209"/>
                <a:gd name="T18" fmla="*/ 10 w 11"/>
                <a:gd name="T19" fmla="*/ 206 h 209"/>
                <a:gd name="T20" fmla="*/ 10 w 11"/>
                <a:gd name="T21" fmla="*/ 200 h 209"/>
                <a:gd name="T22" fmla="*/ 9 w 11"/>
                <a:gd name="T23" fmla="*/ 178 h 209"/>
                <a:gd name="T24" fmla="*/ 5 w 11"/>
                <a:gd name="T25" fmla="*/ 104 h 209"/>
                <a:gd name="T26" fmla="*/ 1 w 11"/>
                <a:gd name="T27" fmla="*/ 31 h 209"/>
                <a:gd name="T28" fmla="*/ 0 w 11"/>
                <a:gd name="T29" fmla="*/ 8 h 209"/>
                <a:gd name="T30" fmla="*/ 0 w 11"/>
                <a:gd name="T31" fmla="*/ 2 h 209"/>
                <a:gd name="T32" fmla="*/ 0 w 11"/>
                <a:gd name="T33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209">
                  <a:moveTo>
                    <a:pt x="0" y="0"/>
                  </a:moveTo>
                  <a:cubicBezTo>
                    <a:pt x="1" y="0"/>
                    <a:pt x="1" y="1"/>
                    <a:pt x="1" y="2"/>
                  </a:cubicBezTo>
                  <a:cubicBezTo>
                    <a:pt x="1" y="4"/>
                    <a:pt x="1" y="6"/>
                    <a:pt x="1" y="8"/>
                  </a:cubicBezTo>
                  <a:cubicBezTo>
                    <a:pt x="1" y="14"/>
                    <a:pt x="1" y="21"/>
                    <a:pt x="2" y="31"/>
                  </a:cubicBezTo>
                  <a:cubicBezTo>
                    <a:pt x="2" y="50"/>
                    <a:pt x="4" y="76"/>
                    <a:pt x="6" y="104"/>
                  </a:cubicBezTo>
                  <a:cubicBezTo>
                    <a:pt x="8" y="133"/>
                    <a:pt x="10" y="159"/>
                    <a:pt x="10" y="178"/>
                  </a:cubicBezTo>
                  <a:cubicBezTo>
                    <a:pt x="11" y="187"/>
                    <a:pt x="11" y="195"/>
                    <a:pt x="11" y="200"/>
                  </a:cubicBezTo>
                  <a:cubicBezTo>
                    <a:pt x="11" y="203"/>
                    <a:pt x="11" y="205"/>
                    <a:pt x="11" y="206"/>
                  </a:cubicBezTo>
                  <a:cubicBezTo>
                    <a:pt x="11" y="208"/>
                    <a:pt x="11" y="209"/>
                    <a:pt x="11" y="209"/>
                  </a:cubicBezTo>
                  <a:cubicBezTo>
                    <a:pt x="11" y="209"/>
                    <a:pt x="11" y="208"/>
                    <a:pt x="10" y="206"/>
                  </a:cubicBezTo>
                  <a:cubicBezTo>
                    <a:pt x="10" y="205"/>
                    <a:pt x="10" y="203"/>
                    <a:pt x="10" y="200"/>
                  </a:cubicBezTo>
                  <a:cubicBezTo>
                    <a:pt x="10" y="195"/>
                    <a:pt x="10" y="187"/>
                    <a:pt x="9" y="178"/>
                  </a:cubicBezTo>
                  <a:cubicBezTo>
                    <a:pt x="9" y="159"/>
                    <a:pt x="7" y="133"/>
                    <a:pt x="5" y="104"/>
                  </a:cubicBezTo>
                  <a:cubicBezTo>
                    <a:pt x="3" y="76"/>
                    <a:pt x="1" y="50"/>
                    <a:pt x="1" y="31"/>
                  </a:cubicBezTo>
                  <a:cubicBezTo>
                    <a:pt x="0" y="21"/>
                    <a:pt x="0" y="14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2" name="Freeform 63">
              <a:extLst>
                <a:ext uri="{FF2B5EF4-FFF2-40B4-BE49-F238E27FC236}">
                  <a16:creationId xmlns:a16="http://schemas.microsoft.com/office/drawing/2014/main" id="{DA90AED8-D329-48C0-8268-B1FCB2614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4" y="2629"/>
              <a:ext cx="24" cy="354"/>
            </a:xfrm>
            <a:custGeom>
              <a:avLst/>
              <a:gdLst>
                <a:gd name="T0" fmla="*/ 10 w 10"/>
                <a:gd name="T1" fmla="*/ 149 h 149"/>
                <a:gd name="T2" fmla="*/ 10 w 10"/>
                <a:gd name="T3" fmla="*/ 147 h 149"/>
                <a:gd name="T4" fmla="*/ 9 w 10"/>
                <a:gd name="T5" fmla="*/ 143 h 149"/>
                <a:gd name="T6" fmla="*/ 8 w 10"/>
                <a:gd name="T7" fmla="*/ 127 h 149"/>
                <a:gd name="T8" fmla="*/ 5 w 10"/>
                <a:gd name="T9" fmla="*/ 74 h 149"/>
                <a:gd name="T10" fmla="*/ 1 w 10"/>
                <a:gd name="T11" fmla="*/ 22 h 149"/>
                <a:gd name="T12" fmla="*/ 0 w 10"/>
                <a:gd name="T13" fmla="*/ 6 h 149"/>
                <a:gd name="T14" fmla="*/ 0 w 10"/>
                <a:gd name="T15" fmla="*/ 1 h 149"/>
                <a:gd name="T16" fmla="*/ 0 w 10"/>
                <a:gd name="T17" fmla="*/ 0 h 149"/>
                <a:gd name="T18" fmla="*/ 0 w 10"/>
                <a:gd name="T19" fmla="*/ 1 h 149"/>
                <a:gd name="T20" fmla="*/ 1 w 10"/>
                <a:gd name="T21" fmla="*/ 6 h 149"/>
                <a:gd name="T22" fmla="*/ 2 w 10"/>
                <a:gd name="T23" fmla="*/ 22 h 149"/>
                <a:gd name="T24" fmla="*/ 6 w 10"/>
                <a:gd name="T25" fmla="*/ 74 h 149"/>
                <a:gd name="T26" fmla="*/ 9 w 10"/>
                <a:gd name="T27" fmla="*/ 127 h 149"/>
                <a:gd name="T28" fmla="*/ 10 w 10"/>
                <a:gd name="T29" fmla="*/ 143 h 149"/>
                <a:gd name="T30" fmla="*/ 10 w 10"/>
                <a:gd name="T31" fmla="*/ 147 h 149"/>
                <a:gd name="T32" fmla="*/ 10 w 10"/>
                <a:gd name="T3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149">
                  <a:moveTo>
                    <a:pt x="10" y="149"/>
                  </a:moveTo>
                  <a:cubicBezTo>
                    <a:pt x="10" y="149"/>
                    <a:pt x="10" y="148"/>
                    <a:pt x="10" y="147"/>
                  </a:cubicBezTo>
                  <a:cubicBezTo>
                    <a:pt x="10" y="146"/>
                    <a:pt x="9" y="145"/>
                    <a:pt x="9" y="143"/>
                  </a:cubicBezTo>
                  <a:cubicBezTo>
                    <a:pt x="9" y="139"/>
                    <a:pt x="9" y="133"/>
                    <a:pt x="8" y="127"/>
                  </a:cubicBezTo>
                  <a:cubicBezTo>
                    <a:pt x="8" y="113"/>
                    <a:pt x="6" y="95"/>
                    <a:pt x="5" y="74"/>
                  </a:cubicBezTo>
                  <a:cubicBezTo>
                    <a:pt x="4" y="54"/>
                    <a:pt x="2" y="35"/>
                    <a:pt x="1" y="22"/>
                  </a:cubicBezTo>
                  <a:cubicBezTo>
                    <a:pt x="1" y="15"/>
                    <a:pt x="1" y="10"/>
                    <a:pt x="0" y="6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3"/>
                    <a:pt x="1" y="4"/>
                    <a:pt x="1" y="6"/>
                  </a:cubicBezTo>
                  <a:cubicBezTo>
                    <a:pt x="1" y="10"/>
                    <a:pt x="2" y="15"/>
                    <a:pt x="2" y="22"/>
                  </a:cubicBezTo>
                  <a:cubicBezTo>
                    <a:pt x="4" y="35"/>
                    <a:pt x="5" y="54"/>
                    <a:pt x="6" y="74"/>
                  </a:cubicBezTo>
                  <a:cubicBezTo>
                    <a:pt x="8" y="95"/>
                    <a:pt x="9" y="113"/>
                    <a:pt x="9" y="127"/>
                  </a:cubicBezTo>
                  <a:cubicBezTo>
                    <a:pt x="10" y="134"/>
                    <a:pt x="10" y="139"/>
                    <a:pt x="10" y="143"/>
                  </a:cubicBezTo>
                  <a:cubicBezTo>
                    <a:pt x="10" y="144"/>
                    <a:pt x="10" y="146"/>
                    <a:pt x="10" y="147"/>
                  </a:cubicBezTo>
                  <a:cubicBezTo>
                    <a:pt x="10" y="148"/>
                    <a:pt x="10" y="149"/>
                    <a:pt x="10" y="14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3" name="Freeform 64">
              <a:extLst>
                <a:ext uri="{FF2B5EF4-FFF2-40B4-BE49-F238E27FC236}">
                  <a16:creationId xmlns:a16="http://schemas.microsoft.com/office/drawing/2014/main" id="{33E9D696-7DB5-48CB-A9F7-7F52AE1EA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" y="2981"/>
              <a:ext cx="71" cy="83"/>
            </a:xfrm>
            <a:custGeom>
              <a:avLst/>
              <a:gdLst>
                <a:gd name="T0" fmla="*/ 30 w 30"/>
                <a:gd name="T1" fmla="*/ 1 h 35"/>
                <a:gd name="T2" fmla="*/ 23 w 30"/>
                <a:gd name="T3" fmla="*/ 2 h 35"/>
                <a:gd name="T4" fmla="*/ 8 w 30"/>
                <a:gd name="T5" fmla="*/ 12 h 35"/>
                <a:gd name="T6" fmla="*/ 1 w 30"/>
                <a:gd name="T7" fmla="*/ 28 h 35"/>
                <a:gd name="T8" fmla="*/ 1 w 30"/>
                <a:gd name="T9" fmla="*/ 35 h 35"/>
                <a:gd name="T10" fmla="*/ 0 w 30"/>
                <a:gd name="T11" fmla="*/ 33 h 35"/>
                <a:gd name="T12" fmla="*/ 0 w 30"/>
                <a:gd name="T13" fmla="*/ 28 h 35"/>
                <a:gd name="T14" fmla="*/ 7 w 30"/>
                <a:gd name="T15" fmla="*/ 11 h 35"/>
                <a:gd name="T16" fmla="*/ 22 w 30"/>
                <a:gd name="T17" fmla="*/ 1 h 35"/>
                <a:gd name="T18" fmla="*/ 28 w 30"/>
                <a:gd name="T19" fmla="*/ 1 h 35"/>
                <a:gd name="T20" fmla="*/ 30 w 30"/>
                <a:gd name="T21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5">
                  <a:moveTo>
                    <a:pt x="30" y="1"/>
                  </a:moveTo>
                  <a:cubicBezTo>
                    <a:pt x="30" y="1"/>
                    <a:pt x="27" y="1"/>
                    <a:pt x="23" y="2"/>
                  </a:cubicBezTo>
                  <a:cubicBezTo>
                    <a:pt x="19" y="4"/>
                    <a:pt x="13" y="7"/>
                    <a:pt x="8" y="12"/>
                  </a:cubicBezTo>
                  <a:cubicBezTo>
                    <a:pt x="4" y="17"/>
                    <a:pt x="2" y="23"/>
                    <a:pt x="1" y="28"/>
                  </a:cubicBezTo>
                  <a:cubicBezTo>
                    <a:pt x="1" y="32"/>
                    <a:pt x="1" y="35"/>
                    <a:pt x="1" y="35"/>
                  </a:cubicBezTo>
                  <a:cubicBezTo>
                    <a:pt x="1" y="35"/>
                    <a:pt x="1" y="34"/>
                    <a:pt x="0" y="33"/>
                  </a:cubicBezTo>
                  <a:cubicBezTo>
                    <a:pt x="0" y="32"/>
                    <a:pt x="0" y="30"/>
                    <a:pt x="0" y="28"/>
                  </a:cubicBezTo>
                  <a:cubicBezTo>
                    <a:pt x="1" y="23"/>
                    <a:pt x="3" y="17"/>
                    <a:pt x="7" y="11"/>
                  </a:cubicBezTo>
                  <a:cubicBezTo>
                    <a:pt x="12" y="6"/>
                    <a:pt x="18" y="3"/>
                    <a:pt x="22" y="1"/>
                  </a:cubicBezTo>
                  <a:cubicBezTo>
                    <a:pt x="25" y="1"/>
                    <a:pt x="27" y="1"/>
                    <a:pt x="28" y="1"/>
                  </a:cubicBezTo>
                  <a:cubicBezTo>
                    <a:pt x="29" y="0"/>
                    <a:pt x="30" y="1"/>
                    <a:pt x="3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4" name="Freeform 65">
              <a:extLst>
                <a:ext uri="{FF2B5EF4-FFF2-40B4-BE49-F238E27FC236}">
                  <a16:creationId xmlns:a16="http://schemas.microsoft.com/office/drawing/2014/main" id="{740E38A0-D200-4FFA-A982-45E211BCD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" y="3099"/>
              <a:ext cx="415" cy="174"/>
            </a:xfrm>
            <a:custGeom>
              <a:avLst/>
              <a:gdLst>
                <a:gd name="T0" fmla="*/ 175 w 175"/>
                <a:gd name="T1" fmla="*/ 56 h 73"/>
                <a:gd name="T2" fmla="*/ 173 w 175"/>
                <a:gd name="T3" fmla="*/ 56 h 73"/>
                <a:gd name="T4" fmla="*/ 167 w 175"/>
                <a:gd name="T5" fmla="*/ 58 h 73"/>
                <a:gd name="T6" fmla="*/ 145 w 175"/>
                <a:gd name="T7" fmla="*/ 65 h 73"/>
                <a:gd name="T8" fmla="*/ 112 w 175"/>
                <a:gd name="T9" fmla="*/ 72 h 73"/>
                <a:gd name="T10" fmla="*/ 71 w 175"/>
                <a:gd name="T11" fmla="*/ 70 h 73"/>
                <a:gd name="T12" fmla="*/ 50 w 175"/>
                <a:gd name="T13" fmla="*/ 64 h 73"/>
                <a:gd name="T14" fmla="*/ 40 w 175"/>
                <a:gd name="T15" fmla="*/ 60 h 73"/>
                <a:gd name="T16" fmla="*/ 36 w 175"/>
                <a:gd name="T17" fmla="*/ 58 h 73"/>
                <a:gd name="T18" fmla="*/ 34 w 175"/>
                <a:gd name="T19" fmla="*/ 57 h 73"/>
                <a:gd name="T20" fmla="*/ 32 w 175"/>
                <a:gd name="T21" fmla="*/ 56 h 73"/>
                <a:gd name="T22" fmla="*/ 19 w 175"/>
                <a:gd name="T23" fmla="*/ 43 h 73"/>
                <a:gd name="T24" fmla="*/ 11 w 175"/>
                <a:gd name="T25" fmla="*/ 29 h 73"/>
                <a:gd name="T26" fmla="*/ 2 w 175"/>
                <a:gd name="T27" fmla="*/ 8 h 73"/>
                <a:gd name="T28" fmla="*/ 1 w 175"/>
                <a:gd name="T29" fmla="*/ 2 h 73"/>
                <a:gd name="T30" fmla="*/ 0 w 175"/>
                <a:gd name="T31" fmla="*/ 0 h 73"/>
                <a:gd name="T32" fmla="*/ 1 w 175"/>
                <a:gd name="T33" fmla="*/ 2 h 73"/>
                <a:gd name="T34" fmla="*/ 3 w 175"/>
                <a:gd name="T35" fmla="*/ 8 h 73"/>
                <a:gd name="T36" fmla="*/ 11 w 175"/>
                <a:gd name="T37" fmla="*/ 29 h 73"/>
                <a:gd name="T38" fmla="*/ 19 w 175"/>
                <a:gd name="T39" fmla="*/ 42 h 73"/>
                <a:gd name="T40" fmla="*/ 32 w 175"/>
                <a:gd name="T41" fmla="*/ 54 h 73"/>
                <a:gd name="T42" fmla="*/ 34 w 175"/>
                <a:gd name="T43" fmla="*/ 56 h 73"/>
                <a:gd name="T44" fmla="*/ 36 w 175"/>
                <a:gd name="T45" fmla="*/ 57 h 73"/>
                <a:gd name="T46" fmla="*/ 41 w 175"/>
                <a:gd name="T47" fmla="*/ 59 h 73"/>
                <a:gd name="T48" fmla="*/ 50 w 175"/>
                <a:gd name="T49" fmla="*/ 62 h 73"/>
                <a:gd name="T50" fmla="*/ 71 w 175"/>
                <a:gd name="T51" fmla="*/ 68 h 73"/>
                <a:gd name="T52" fmla="*/ 112 w 175"/>
                <a:gd name="T53" fmla="*/ 70 h 73"/>
                <a:gd name="T54" fmla="*/ 145 w 175"/>
                <a:gd name="T55" fmla="*/ 64 h 73"/>
                <a:gd name="T56" fmla="*/ 167 w 175"/>
                <a:gd name="T57" fmla="*/ 58 h 73"/>
                <a:gd name="T58" fmla="*/ 173 w 175"/>
                <a:gd name="T59" fmla="*/ 56 h 73"/>
                <a:gd name="T60" fmla="*/ 175 w 175"/>
                <a:gd name="T61" fmla="*/ 5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5" h="73">
                  <a:moveTo>
                    <a:pt x="175" y="56"/>
                  </a:moveTo>
                  <a:cubicBezTo>
                    <a:pt x="175" y="56"/>
                    <a:pt x="175" y="56"/>
                    <a:pt x="173" y="56"/>
                  </a:cubicBezTo>
                  <a:cubicBezTo>
                    <a:pt x="172" y="57"/>
                    <a:pt x="170" y="57"/>
                    <a:pt x="167" y="58"/>
                  </a:cubicBezTo>
                  <a:cubicBezTo>
                    <a:pt x="162" y="60"/>
                    <a:pt x="155" y="62"/>
                    <a:pt x="145" y="65"/>
                  </a:cubicBezTo>
                  <a:cubicBezTo>
                    <a:pt x="136" y="67"/>
                    <a:pt x="125" y="70"/>
                    <a:pt x="112" y="72"/>
                  </a:cubicBezTo>
                  <a:cubicBezTo>
                    <a:pt x="99" y="73"/>
                    <a:pt x="85" y="73"/>
                    <a:pt x="71" y="70"/>
                  </a:cubicBezTo>
                  <a:cubicBezTo>
                    <a:pt x="63" y="68"/>
                    <a:pt x="57" y="66"/>
                    <a:pt x="50" y="64"/>
                  </a:cubicBezTo>
                  <a:cubicBezTo>
                    <a:pt x="47" y="63"/>
                    <a:pt x="43" y="61"/>
                    <a:pt x="40" y="60"/>
                  </a:cubicBezTo>
                  <a:cubicBezTo>
                    <a:pt x="39" y="59"/>
                    <a:pt x="37" y="59"/>
                    <a:pt x="36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6" y="52"/>
                    <a:pt x="22" y="47"/>
                    <a:pt x="19" y="43"/>
                  </a:cubicBezTo>
                  <a:cubicBezTo>
                    <a:pt x="15" y="38"/>
                    <a:pt x="13" y="33"/>
                    <a:pt x="11" y="29"/>
                  </a:cubicBezTo>
                  <a:cubicBezTo>
                    <a:pt x="6" y="20"/>
                    <a:pt x="4" y="13"/>
                    <a:pt x="2" y="8"/>
                  </a:cubicBezTo>
                  <a:cubicBezTo>
                    <a:pt x="2" y="5"/>
                    <a:pt x="1" y="3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1" y="3"/>
                    <a:pt x="2" y="5"/>
                    <a:pt x="3" y="8"/>
                  </a:cubicBezTo>
                  <a:cubicBezTo>
                    <a:pt x="5" y="13"/>
                    <a:pt x="7" y="20"/>
                    <a:pt x="11" y="29"/>
                  </a:cubicBezTo>
                  <a:cubicBezTo>
                    <a:pt x="14" y="33"/>
                    <a:pt x="16" y="38"/>
                    <a:pt x="19" y="42"/>
                  </a:cubicBezTo>
                  <a:cubicBezTo>
                    <a:pt x="23" y="47"/>
                    <a:pt x="27" y="51"/>
                    <a:pt x="32" y="54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8" y="58"/>
                    <a:pt x="39" y="58"/>
                    <a:pt x="41" y="59"/>
                  </a:cubicBezTo>
                  <a:cubicBezTo>
                    <a:pt x="44" y="60"/>
                    <a:pt x="47" y="61"/>
                    <a:pt x="50" y="62"/>
                  </a:cubicBezTo>
                  <a:cubicBezTo>
                    <a:pt x="57" y="65"/>
                    <a:pt x="64" y="67"/>
                    <a:pt x="71" y="68"/>
                  </a:cubicBezTo>
                  <a:cubicBezTo>
                    <a:pt x="85" y="71"/>
                    <a:pt x="99" y="72"/>
                    <a:pt x="112" y="70"/>
                  </a:cubicBezTo>
                  <a:cubicBezTo>
                    <a:pt x="125" y="69"/>
                    <a:pt x="136" y="66"/>
                    <a:pt x="145" y="64"/>
                  </a:cubicBezTo>
                  <a:cubicBezTo>
                    <a:pt x="154" y="61"/>
                    <a:pt x="162" y="59"/>
                    <a:pt x="167" y="58"/>
                  </a:cubicBezTo>
                  <a:cubicBezTo>
                    <a:pt x="170" y="57"/>
                    <a:pt x="172" y="56"/>
                    <a:pt x="173" y="56"/>
                  </a:cubicBezTo>
                  <a:cubicBezTo>
                    <a:pt x="175" y="56"/>
                    <a:pt x="175" y="56"/>
                    <a:pt x="175" y="5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5" name="Freeform 66">
              <a:extLst>
                <a:ext uri="{FF2B5EF4-FFF2-40B4-BE49-F238E27FC236}">
                  <a16:creationId xmlns:a16="http://schemas.microsoft.com/office/drawing/2014/main" id="{AA22F681-ABA8-4A89-9242-64308262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" y="2874"/>
              <a:ext cx="150" cy="121"/>
            </a:xfrm>
            <a:custGeom>
              <a:avLst/>
              <a:gdLst>
                <a:gd name="T0" fmla="*/ 41 w 63"/>
                <a:gd name="T1" fmla="*/ 0 h 51"/>
                <a:gd name="T2" fmla="*/ 28 w 63"/>
                <a:gd name="T3" fmla="*/ 2 h 51"/>
                <a:gd name="T4" fmla="*/ 7 w 63"/>
                <a:gd name="T5" fmla="*/ 23 h 51"/>
                <a:gd name="T6" fmla="*/ 0 w 63"/>
                <a:gd name="T7" fmla="*/ 50 h 51"/>
                <a:gd name="T8" fmla="*/ 0 w 63"/>
                <a:gd name="T9" fmla="*/ 51 h 51"/>
                <a:gd name="T10" fmla="*/ 0 w 63"/>
                <a:gd name="T11" fmla="*/ 51 h 51"/>
                <a:gd name="T12" fmla="*/ 46 w 63"/>
                <a:gd name="T13" fmla="*/ 22 h 51"/>
                <a:gd name="T14" fmla="*/ 48 w 63"/>
                <a:gd name="T15" fmla="*/ 22 h 51"/>
                <a:gd name="T16" fmla="*/ 52 w 63"/>
                <a:gd name="T17" fmla="*/ 22 h 51"/>
                <a:gd name="T18" fmla="*/ 60 w 63"/>
                <a:gd name="T19" fmla="*/ 19 h 51"/>
                <a:gd name="T20" fmla="*/ 62 w 63"/>
                <a:gd name="T21" fmla="*/ 11 h 51"/>
                <a:gd name="T22" fmla="*/ 56 w 63"/>
                <a:gd name="T23" fmla="*/ 4 h 51"/>
                <a:gd name="T24" fmla="*/ 41 w 63"/>
                <a:gd name="T2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51">
                  <a:moveTo>
                    <a:pt x="41" y="0"/>
                  </a:moveTo>
                  <a:cubicBezTo>
                    <a:pt x="36" y="0"/>
                    <a:pt x="32" y="1"/>
                    <a:pt x="28" y="2"/>
                  </a:cubicBezTo>
                  <a:cubicBezTo>
                    <a:pt x="19" y="6"/>
                    <a:pt x="12" y="14"/>
                    <a:pt x="7" y="23"/>
                  </a:cubicBezTo>
                  <a:cubicBezTo>
                    <a:pt x="3" y="32"/>
                    <a:pt x="1" y="41"/>
                    <a:pt x="0" y="50"/>
                  </a:cubicBezTo>
                  <a:cubicBezTo>
                    <a:pt x="0" y="50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33"/>
                    <a:pt x="27" y="22"/>
                    <a:pt x="46" y="22"/>
                  </a:cubicBezTo>
                  <a:cubicBezTo>
                    <a:pt x="47" y="22"/>
                    <a:pt x="47" y="22"/>
                    <a:pt x="48" y="22"/>
                  </a:cubicBezTo>
                  <a:cubicBezTo>
                    <a:pt x="49" y="22"/>
                    <a:pt x="51" y="22"/>
                    <a:pt x="52" y="22"/>
                  </a:cubicBezTo>
                  <a:cubicBezTo>
                    <a:pt x="55" y="22"/>
                    <a:pt x="58" y="21"/>
                    <a:pt x="60" y="19"/>
                  </a:cubicBezTo>
                  <a:cubicBezTo>
                    <a:pt x="63" y="17"/>
                    <a:pt x="63" y="14"/>
                    <a:pt x="62" y="11"/>
                  </a:cubicBezTo>
                  <a:cubicBezTo>
                    <a:pt x="61" y="8"/>
                    <a:pt x="59" y="6"/>
                    <a:pt x="56" y="4"/>
                  </a:cubicBezTo>
                  <a:cubicBezTo>
                    <a:pt x="52" y="1"/>
                    <a:pt x="46" y="0"/>
                    <a:pt x="41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6" name="Freeform 67">
              <a:extLst>
                <a:ext uri="{FF2B5EF4-FFF2-40B4-BE49-F238E27FC236}">
                  <a16:creationId xmlns:a16="http://schemas.microsoft.com/office/drawing/2014/main" id="{F0CE9A06-C85F-4561-8132-37877D911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" y="2993"/>
              <a:ext cx="0" cy="4"/>
            </a:xfrm>
            <a:custGeom>
              <a:avLst/>
              <a:gdLst>
                <a:gd name="T0" fmla="*/ 0 h 2"/>
                <a:gd name="T1" fmla="*/ 2 h 2"/>
                <a:gd name="T2" fmla="*/ 1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7" name="Freeform 68">
              <a:extLst>
                <a:ext uri="{FF2B5EF4-FFF2-40B4-BE49-F238E27FC236}">
                  <a16:creationId xmlns:a16="http://schemas.microsoft.com/office/drawing/2014/main" id="{D5438FA6-BF14-4B36-9BDE-988B00F08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" y="2781"/>
              <a:ext cx="45" cy="202"/>
            </a:xfrm>
            <a:custGeom>
              <a:avLst/>
              <a:gdLst>
                <a:gd name="T0" fmla="*/ 0 w 19"/>
                <a:gd name="T1" fmla="*/ 0 h 85"/>
                <a:gd name="T2" fmla="*/ 19 w 19"/>
                <a:gd name="T3" fmla="*/ 85 h 85"/>
                <a:gd name="T4" fmla="*/ 19 w 19"/>
                <a:gd name="T5" fmla="*/ 84 h 85"/>
                <a:gd name="T6" fmla="*/ 0 w 19"/>
                <a:gd name="T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85">
                  <a:moveTo>
                    <a:pt x="0" y="0"/>
                  </a:moveTo>
                  <a:cubicBezTo>
                    <a:pt x="6" y="30"/>
                    <a:pt x="14" y="62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8" name="Freeform 69">
              <a:extLst>
                <a:ext uri="{FF2B5EF4-FFF2-40B4-BE49-F238E27FC236}">
                  <a16:creationId xmlns:a16="http://schemas.microsoft.com/office/drawing/2014/main" id="{6E1C42A5-B1C1-4345-BAF2-92DD55F3A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655"/>
              <a:ext cx="104" cy="326"/>
            </a:xfrm>
            <a:custGeom>
              <a:avLst/>
              <a:gdLst>
                <a:gd name="T0" fmla="*/ 0 w 44"/>
                <a:gd name="T1" fmla="*/ 0 h 137"/>
                <a:gd name="T2" fmla="*/ 0 w 44"/>
                <a:gd name="T3" fmla="*/ 13 h 137"/>
                <a:gd name="T4" fmla="*/ 7 w 44"/>
                <a:gd name="T5" fmla="*/ 53 h 137"/>
                <a:gd name="T6" fmla="*/ 26 w 44"/>
                <a:gd name="T7" fmla="*/ 137 h 137"/>
                <a:gd name="T8" fmla="*/ 36 w 44"/>
                <a:gd name="T9" fmla="*/ 136 h 137"/>
                <a:gd name="T10" fmla="*/ 39 w 44"/>
                <a:gd name="T11" fmla="*/ 86 h 137"/>
                <a:gd name="T12" fmla="*/ 29 w 44"/>
                <a:gd name="T13" fmla="*/ 95 h 137"/>
                <a:gd name="T14" fmla="*/ 19 w 44"/>
                <a:gd name="T15" fmla="*/ 106 h 137"/>
                <a:gd name="T16" fmla="*/ 19 w 44"/>
                <a:gd name="T17" fmla="*/ 106 h 137"/>
                <a:gd name="T18" fmla="*/ 20 w 44"/>
                <a:gd name="T19" fmla="*/ 105 h 137"/>
                <a:gd name="T20" fmla="*/ 21 w 44"/>
                <a:gd name="T21" fmla="*/ 102 h 137"/>
                <a:gd name="T22" fmla="*/ 28 w 44"/>
                <a:gd name="T23" fmla="*/ 94 h 137"/>
                <a:gd name="T24" fmla="*/ 39 w 44"/>
                <a:gd name="T25" fmla="*/ 85 h 137"/>
                <a:gd name="T26" fmla="*/ 34 w 44"/>
                <a:gd name="T27" fmla="*/ 71 h 137"/>
                <a:gd name="T28" fmla="*/ 0 w 44"/>
                <a:gd name="T2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137">
                  <a:moveTo>
                    <a:pt x="0" y="0"/>
                  </a:moveTo>
                  <a:cubicBezTo>
                    <a:pt x="0" y="5"/>
                    <a:pt x="0" y="9"/>
                    <a:pt x="0" y="13"/>
                  </a:cubicBezTo>
                  <a:cubicBezTo>
                    <a:pt x="2" y="26"/>
                    <a:pt x="4" y="39"/>
                    <a:pt x="7" y="53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4" y="121"/>
                    <a:pt x="44" y="103"/>
                    <a:pt x="39" y="86"/>
                  </a:cubicBezTo>
                  <a:cubicBezTo>
                    <a:pt x="35" y="89"/>
                    <a:pt x="31" y="92"/>
                    <a:pt x="29" y="95"/>
                  </a:cubicBezTo>
                  <a:cubicBezTo>
                    <a:pt x="22" y="101"/>
                    <a:pt x="19" y="106"/>
                    <a:pt x="19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9" y="106"/>
                    <a:pt x="19" y="105"/>
                    <a:pt x="20" y="105"/>
                  </a:cubicBezTo>
                  <a:cubicBezTo>
                    <a:pt x="20" y="104"/>
                    <a:pt x="20" y="103"/>
                    <a:pt x="21" y="102"/>
                  </a:cubicBezTo>
                  <a:cubicBezTo>
                    <a:pt x="22" y="100"/>
                    <a:pt x="25" y="97"/>
                    <a:pt x="28" y="94"/>
                  </a:cubicBezTo>
                  <a:cubicBezTo>
                    <a:pt x="31" y="91"/>
                    <a:pt x="34" y="88"/>
                    <a:pt x="39" y="85"/>
                  </a:cubicBezTo>
                  <a:cubicBezTo>
                    <a:pt x="38" y="80"/>
                    <a:pt x="36" y="76"/>
                    <a:pt x="34" y="71"/>
                  </a:cubicBezTo>
                  <a:cubicBezTo>
                    <a:pt x="27" y="52"/>
                    <a:pt x="7" y="21"/>
                    <a:pt x="0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9" name="Freeform 70">
              <a:extLst>
                <a:ext uri="{FF2B5EF4-FFF2-40B4-BE49-F238E27FC236}">
                  <a16:creationId xmlns:a16="http://schemas.microsoft.com/office/drawing/2014/main" id="{3FDA43A0-17AB-4581-B408-056E4008D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857"/>
              <a:ext cx="47" cy="50"/>
            </a:xfrm>
            <a:custGeom>
              <a:avLst/>
              <a:gdLst>
                <a:gd name="T0" fmla="*/ 20 w 20"/>
                <a:gd name="T1" fmla="*/ 0 h 21"/>
                <a:gd name="T2" fmla="*/ 9 w 20"/>
                <a:gd name="T3" fmla="*/ 9 h 21"/>
                <a:gd name="T4" fmla="*/ 2 w 20"/>
                <a:gd name="T5" fmla="*/ 17 h 21"/>
                <a:gd name="T6" fmla="*/ 1 w 20"/>
                <a:gd name="T7" fmla="*/ 20 h 21"/>
                <a:gd name="T8" fmla="*/ 0 w 20"/>
                <a:gd name="T9" fmla="*/ 21 h 21"/>
                <a:gd name="T10" fmla="*/ 0 w 20"/>
                <a:gd name="T11" fmla="*/ 21 h 21"/>
                <a:gd name="T12" fmla="*/ 10 w 20"/>
                <a:gd name="T13" fmla="*/ 10 h 21"/>
                <a:gd name="T14" fmla="*/ 20 w 20"/>
                <a:gd name="T15" fmla="*/ 1 h 21"/>
                <a:gd name="T16" fmla="*/ 20 w 20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1">
                  <a:moveTo>
                    <a:pt x="20" y="0"/>
                  </a:moveTo>
                  <a:cubicBezTo>
                    <a:pt x="15" y="3"/>
                    <a:pt x="12" y="6"/>
                    <a:pt x="9" y="9"/>
                  </a:cubicBezTo>
                  <a:cubicBezTo>
                    <a:pt x="6" y="12"/>
                    <a:pt x="3" y="15"/>
                    <a:pt x="2" y="17"/>
                  </a:cubicBezTo>
                  <a:cubicBezTo>
                    <a:pt x="1" y="18"/>
                    <a:pt x="1" y="19"/>
                    <a:pt x="1" y="20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3" y="16"/>
                    <a:pt x="10" y="10"/>
                  </a:cubicBezTo>
                  <a:cubicBezTo>
                    <a:pt x="12" y="7"/>
                    <a:pt x="16" y="4"/>
                    <a:pt x="20" y="1"/>
                  </a:cubicBezTo>
                  <a:cubicBezTo>
                    <a:pt x="20" y="1"/>
                    <a:pt x="20" y="0"/>
                    <a:pt x="20" y="0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0" name="Freeform 71">
              <a:extLst>
                <a:ext uri="{FF2B5EF4-FFF2-40B4-BE49-F238E27FC236}">
                  <a16:creationId xmlns:a16="http://schemas.microsoft.com/office/drawing/2014/main" id="{F21ACA15-0D7B-46CB-9CEA-8D184938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643"/>
              <a:ext cx="5" cy="43"/>
            </a:xfrm>
            <a:custGeom>
              <a:avLst/>
              <a:gdLst>
                <a:gd name="T0" fmla="*/ 0 w 2"/>
                <a:gd name="T1" fmla="*/ 0 h 18"/>
                <a:gd name="T2" fmla="*/ 0 w 2"/>
                <a:gd name="T3" fmla="*/ 0 h 18"/>
                <a:gd name="T4" fmla="*/ 1 w 2"/>
                <a:gd name="T5" fmla="*/ 11 h 18"/>
                <a:gd name="T6" fmla="*/ 2 w 2"/>
                <a:gd name="T7" fmla="*/ 18 h 18"/>
                <a:gd name="T8" fmla="*/ 2 w 2"/>
                <a:gd name="T9" fmla="*/ 5 h 18"/>
                <a:gd name="T10" fmla="*/ 0 w 2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1" y="6"/>
                    <a:pt x="1" y="11"/>
                  </a:cubicBezTo>
                  <a:cubicBezTo>
                    <a:pt x="1" y="13"/>
                    <a:pt x="2" y="16"/>
                    <a:pt x="2" y="18"/>
                  </a:cubicBezTo>
                  <a:cubicBezTo>
                    <a:pt x="2" y="14"/>
                    <a:pt x="2" y="10"/>
                    <a:pt x="2" y="5"/>
                  </a:cubicBezTo>
                  <a:cubicBezTo>
                    <a:pt x="1" y="3"/>
                    <a:pt x="0" y="1"/>
                    <a:pt x="0" y="0"/>
                  </a:cubicBezTo>
                </a:path>
              </a:pathLst>
            </a:custGeom>
            <a:solidFill>
              <a:srgbClr val="BA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1" name="Freeform 72">
              <a:extLst>
                <a:ext uri="{FF2B5EF4-FFF2-40B4-BE49-F238E27FC236}">
                  <a16:creationId xmlns:a16="http://schemas.microsoft.com/office/drawing/2014/main" id="{9D792E85-6C0E-4959-A7FB-1378B9617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643"/>
              <a:ext cx="2" cy="26"/>
            </a:xfrm>
            <a:custGeom>
              <a:avLst/>
              <a:gdLst>
                <a:gd name="T0" fmla="*/ 0 w 1"/>
                <a:gd name="T1" fmla="*/ 0 h 11"/>
                <a:gd name="T2" fmla="*/ 1 w 1"/>
                <a:gd name="T3" fmla="*/ 11 h 11"/>
                <a:gd name="T4" fmla="*/ 0 w 1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1">
                  <a:moveTo>
                    <a:pt x="0" y="0"/>
                  </a:moveTo>
                  <a:cubicBezTo>
                    <a:pt x="0" y="3"/>
                    <a:pt x="1" y="7"/>
                    <a:pt x="1" y="11"/>
                  </a:cubicBezTo>
                  <a:cubicBezTo>
                    <a:pt x="1" y="6"/>
                    <a:pt x="0" y="3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2" name="Freeform 73">
              <a:extLst>
                <a:ext uri="{FF2B5EF4-FFF2-40B4-BE49-F238E27FC236}">
                  <a16:creationId xmlns:a16="http://schemas.microsoft.com/office/drawing/2014/main" id="{802E1D99-92E9-47FA-9262-92E760927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" y="2282"/>
              <a:ext cx="719" cy="349"/>
            </a:xfrm>
            <a:custGeom>
              <a:avLst/>
              <a:gdLst>
                <a:gd name="T0" fmla="*/ 303 w 303"/>
                <a:gd name="T1" fmla="*/ 0 h 147"/>
                <a:gd name="T2" fmla="*/ 303 w 303"/>
                <a:gd name="T3" fmla="*/ 2 h 147"/>
                <a:gd name="T4" fmla="*/ 302 w 303"/>
                <a:gd name="T5" fmla="*/ 5 h 147"/>
                <a:gd name="T6" fmla="*/ 299 w 303"/>
                <a:gd name="T7" fmla="*/ 19 h 147"/>
                <a:gd name="T8" fmla="*/ 278 w 303"/>
                <a:gd name="T9" fmla="*/ 65 h 147"/>
                <a:gd name="T10" fmla="*/ 253 w 303"/>
                <a:gd name="T11" fmla="*/ 90 h 147"/>
                <a:gd name="T12" fmla="*/ 214 w 303"/>
                <a:gd name="T13" fmla="*/ 103 h 147"/>
                <a:gd name="T14" fmla="*/ 170 w 303"/>
                <a:gd name="T15" fmla="*/ 98 h 147"/>
                <a:gd name="T16" fmla="*/ 123 w 303"/>
                <a:gd name="T17" fmla="*/ 88 h 147"/>
                <a:gd name="T18" fmla="*/ 99 w 303"/>
                <a:gd name="T19" fmla="*/ 88 h 147"/>
                <a:gd name="T20" fmla="*/ 77 w 303"/>
                <a:gd name="T21" fmla="*/ 95 h 147"/>
                <a:gd name="T22" fmla="*/ 60 w 303"/>
                <a:gd name="T23" fmla="*/ 109 h 147"/>
                <a:gd name="T24" fmla="*/ 54 w 303"/>
                <a:gd name="T25" fmla="*/ 119 h 147"/>
                <a:gd name="T26" fmla="*/ 52 w 303"/>
                <a:gd name="T27" fmla="*/ 129 h 147"/>
                <a:gd name="T28" fmla="*/ 54 w 303"/>
                <a:gd name="T29" fmla="*/ 139 h 147"/>
                <a:gd name="T30" fmla="*/ 61 w 303"/>
                <a:gd name="T31" fmla="*/ 144 h 147"/>
                <a:gd name="T32" fmla="*/ 70 w 303"/>
                <a:gd name="T33" fmla="*/ 141 h 147"/>
                <a:gd name="T34" fmla="*/ 75 w 303"/>
                <a:gd name="T35" fmla="*/ 134 h 147"/>
                <a:gd name="T36" fmla="*/ 75 w 303"/>
                <a:gd name="T37" fmla="*/ 125 h 147"/>
                <a:gd name="T38" fmla="*/ 73 w 303"/>
                <a:gd name="T39" fmla="*/ 116 h 147"/>
                <a:gd name="T40" fmla="*/ 64 w 303"/>
                <a:gd name="T41" fmla="*/ 103 h 147"/>
                <a:gd name="T42" fmla="*/ 38 w 303"/>
                <a:gd name="T43" fmla="*/ 92 h 147"/>
                <a:gd name="T44" fmla="*/ 17 w 303"/>
                <a:gd name="T45" fmla="*/ 94 h 147"/>
                <a:gd name="T46" fmla="*/ 4 w 303"/>
                <a:gd name="T47" fmla="*/ 99 h 147"/>
                <a:gd name="T48" fmla="*/ 0 w 303"/>
                <a:gd name="T49" fmla="*/ 101 h 147"/>
                <a:gd name="T50" fmla="*/ 1 w 303"/>
                <a:gd name="T51" fmla="*/ 101 h 147"/>
                <a:gd name="T52" fmla="*/ 4 w 303"/>
                <a:gd name="T53" fmla="*/ 99 h 147"/>
                <a:gd name="T54" fmla="*/ 17 w 303"/>
                <a:gd name="T55" fmla="*/ 93 h 147"/>
                <a:gd name="T56" fmla="*/ 38 w 303"/>
                <a:gd name="T57" fmla="*/ 91 h 147"/>
                <a:gd name="T58" fmla="*/ 65 w 303"/>
                <a:gd name="T59" fmla="*/ 102 h 147"/>
                <a:gd name="T60" fmla="*/ 75 w 303"/>
                <a:gd name="T61" fmla="*/ 116 h 147"/>
                <a:gd name="T62" fmla="*/ 77 w 303"/>
                <a:gd name="T63" fmla="*/ 125 h 147"/>
                <a:gd name="T64" fmla="*/ 76 w 303"/>
                <a:gd name="T65" fmla="*/ 134 h 147"/>
                <a:gd name="T66" fmla="*/ 71 w 303"/>
                <a:gd name="T67" fmla="*/ 143 h 147"/>
                <a:gd name="T68" fmla="*/ 61 w 303"/>
                <a:gd name="T69" fmla="*/ 146 h 147"/>
                <a:gd name="T70" fmla="*/ 53 w 303"/>
                <a:gd name="T71" fmla="*/ 139 h 147"/>
                <a:gd name="T72" fmla="*/ 50 w 303"/>
                <a:gd name="T73" fmla="*/ 129 h 147"/>
                <a:gd name="T74" fmla="*/ 53 w 303"/>
                <a:gd name="T75" fmla="*/ 118 h 147"/>
                <a:gd name="T76" fmla="*/ 58 w 303"/>
                <a:gd name="T77" fmla="*/ 108 h 147"/>
                <a:gd name="T78" fmla="*/ 76 w 303"/>
                <a:gd name="T79" fmla="*/ 93 h 147"/>
                <a:gd name="T80" fmla="*/ 99 w 303"/>
                <a:gd name="T81" fmla="*/ 86 h 147"/>
                <a:gd name="T82" fmla="*/ 123 w 303"/>
                <a:gd name="T83" fmla="*/ 85 h 147"/>
                <a:gd name="T84" fmla="*/ 170 w 303"/>
                <a:gd name="T85" fmla="*/ 96 h 147"/>
                <a:gd name="T86" fmla="*/ 214 w 303"/>
                <a:gd name="T87" fmla="*/ 101 h 147"/>
                <a:gd name="T88" fmla="*/ 252 w 303"/>
                <a:gd name="T89" fmla="*/ 88 h 147"/>
                <a:gd name="T90" fmla="*/ 277 w 303"/>
                <a:gd name="T91" fmla="*/ 64 h 147"/>
                <a:gd name="T92" fmla="*/ 298 w 303"/>
                <a:gd name="T93" fmla="*/ 18 h 147"/>
                <a:gd name="T94" fmla="*/ 302 w 303"/>
                <a:gd name="T95" fmla="*/ 5 h 147"/>
                <a:gd name="T96" fmla="*/ 303 w 303"/>
                <a:gd name="T97" fmla="*/ 1 h 147"/>
                <a:gd name="T98" fmla="*/ 303 w 303"/>
                <a:gd name="T9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3" h="147">
                  <a:moveTo>
                    <a:pt x="303" y="0"/>
                  </a:moveTo>
                  <a:cubicBezTo>
                    <a:pt x="303" y="0"/>
                    <a:pt x="303" y="1"/>
                    <a:pt x="303" y="2"/>
                  </a:cubicBezTo>
                  <a:cubicBezTo>
                    <a:pt x="303" y="2"/>
                    <a:pt x="303" y="4"/>
                    <a:pt x="302" y="5"/>
                  </a:cubicBezTo>
                  <a:cubicBezTo>
                    <a:pt x="302" y="8"/>
                    <a:pt x="301" y="13"/>
                    <a:pt x="299" y="19"/>
                  </a:cubicBezTo>
                  <a:cubicBezTo>
                    <a:pt x="296" y="30"/>
                    <a:pt x="290" y="47"/>
                    <a:pt x="278" y="65"/>
                  </a:cubicBezTo>
                  <a:cubicBezTo>
                    <a:pt x="271" y="74"/>
                    <a:pt x="263" y="83"/>
                    <a:pt x="253" y="90"/>
                  </a:cubicBezTo>
                  <a:cubicBezTo>
                    <a:pt x="242" y="97"/>
                    <a:pt x="229" y="102"/>
                    <a:pt x="214" y="103"/>
                  </a:cubicBezTo>
                  <a:cubicBezTo>
                    <a:pt x="200" y="104"/>
                    <a:pt x="185" y="101"/>
                    <a:pt x="170" y="98"/>
                  </a:cubicBezTo>
                  <a:cubicBezTo>
                    <a:pt x="155" y="94"/>
                    <a:pt x="139" y="89"/>
                    <a:pt x="123" y="88"/>
                  </a:cubicBezTo>
                  <a:cubicBezTo>
                    <a:pt x="115" y="87"/>
                    <a:pt x="107" y="87"/>
                    <a:pt x="99" y="88"/>
                  </a:cubicBezTo>
                  <a:cubicBezTo>
                    <a:pt x="91" y="89"/>
                    <a:pt x="84" y="91"/>
                    <a:pt x="77" y="95"/>
                  </a:cubicBezTo>
                  <a:cubicBezTo>
                    <a:pt x="70" y="99"/>
                    <a:pt x="64" y="103"/>
                    <a:pt x="60" y="109"/>
                  </a:cubicBezTo>
                  <a:cubicBezTo>
                    <a:pt x="58" y="112"/>
                    <a:pt x="56" y="115"/>
                    <a:pt x="54" y="119"/>
                  </a:cubicBezTo>
                  <a:cubicBezTo>
                    <a:pt x="53" y="122"/>
                    <a:pt x="52" y="125"/>
                    <a:pt x="52" y="129"/>
                  </a:cubicBezTo>
                  <a:cubicBezTo>
                    <a:pt x="52" y="132"/>
                    <a:pt x="53" y="136"/>
                    <a:pt x="54" y="139"/>
                  </a:cubicBezTo>
                  <a:cubicBezTo>
                    <a:pt x="56" y="141"/>
                    <a:pt x="58" y="144"/>
                    <a:pt x="61" y="144"/>
                  </a:cubicBezTo>
                  <a:cubicBezTo>
                    <a:pt x="64" y="145"/>
                    <a:pt x="67" y="144"/>
                    <a:pt x="70" y="141"/>
                  </a:cubicBezTo>
                  <a:cubicBezTo>
                    <a:pt x="72" y="139"/>
                    <a:pt x="74" y="137"/>
                    <a:pt x="75" y="134"/>
                  </a:cubicBezTo>
                  <a:cubicBezTo>
                    <a:pt x="75" y="131"/>
                    <a:pt x="76" y="128"/>
                    <a:pt x="75" y="125"/>
                  </a:cubicBezTo>
                  <a:cubicBezTo>
                    <a:pt x="75" y="122"/>
                    <a:pt x="74" y="119"/>
                    <a:pt x="73" y="116"/>
                  </a:cubicBezTo>
                  <a:cubicBezTo>
                    <a:pt x="71" y="111"/>
                    <a:pt x="68" y="106"/>
                    <a:pt x="64" y="103"/>
                  </a:cubicBezTo>
                  <a:cubicBezTo>
                    <a:pt x="56" y="95"/>
                    <a:pt x="47" y="92"/>
                    <a:pt x="38" y="92"/>
                  </a:cubicBezTo>
                  <a:cubicBezTo>
                    <a:pt x="30" y="91"/>
                    <a:pt x="23" y="93"/>
                    <a:pt x="17" y="94"/>
                  </a:cubicBezTo>
                  <a:cubicBezTo>
                    <a:pt x="11" y="96"/>
                    <a:pt x="7" y="98"/>
                    <a:pt x="4" y="99"/>
                  </a:cubicBezTo>
                  <a:cubicBezTo>
                    <a:pt x="1" y="101"/>
                    <a:pt x="0" y="102"/>
                    <a:pt x="0" y="101"/>
                  </a:cubicBezTo>
                  <a:cubicBezTo>
                    <a:pt x="0" y="101"/>
                    <a:pt x="0" y="101"/>
                    <a:pt x="1" y="101"/>
                  </a:cubicBezTo>
                  <a:cubicBezTo>
                    <a:pt x="1" y="100"/>
                    <a:pt x="2" y="100"/>
                    <a:pt x="4" y="99"/>
                  </a:cubicBezTo>
                  <a:cubicBezTo>
                    <a:pt x="7" y="97"/>
                    <a:pt x="11" y="95"/>
                    <a:pt x="17" y="93"/>
                  </a:cubicBezTo>
                  <a:cubicBezTo>
                    <a:pt x="22" y="92"/>
                    <a:pt x="30" y="90"/>
                    <a:pt x="38" y="91"/>
                  </a:cubicBezTo>
                  <a:cubicBezTo>
                    <a:pt x="47" y="91"/>
                    <a:pt x="57" y="94"/>
                    <a:pt x="65" y="102"/>
                  </a:cubicBezTo>
                  <a:cubicBezTo>
                    <a:pt x="69" y="105"/>
                    <a:pt x="73" y="110"/>
                    <a:pt x="75" y="116"/>
                  </a:cubicBezTo>
                  <a:cubicBezTo>
                    <a:pt x="76" y="119"/>
                    <a:pt x="77" y="122"/>
                    <a:pt x="77" y="125"/>
                  </a:cubicBezTo>
                  <a:cubicBezTo>
                    <a:pt x="77" y="128"/>
                    <a:pt x="77" y="131"/>
                    <a:pt x="76" y="134"/>
                  </a:cubicBezTo>
                  <a:cubicBezTo>
                    <a:pt x="75" y="137"/>
                    <a:pt x="73" y="140"/>
                    <a:pt x="71" y="143"/>
                  </a:cubicBezTo>
                  <a:cubicBezTo>
                    <a:pt x="68" y="145"/>
                    <a:pt x="65" y="147"/>
                    <a:pt x="61" y="146"/>
                  </a:cubicBezTo>
                  <a:cubicBezTo>
                    <a:pt x="57" y="145"/>
                    <a:pt x="54" y="143"/>
                    <a:pt x="53" y="139"/>
                  </a:cubicBezTo>
                  <a:cubicBezTo>
                    <a:pt x="51" y="136"/>
                    <a:pt x="50" y="132"/>
                    <a:pt x="50" y="129"/>
                  </a:cubicBezTo>
                  <a:cubicBezTo>
                    <a:pt x="50" y="125"/>
                    <a:pt x="51" y="121"/>
                    <a:pt x="53" y="118"/>
                  </a:cubicBezTo>
                  <a:cubicBezTo>
                    <a:pt x="54" y="114"/>
                    <a:pt x="56" y="111"/>
                    <a:pt x="58" y="108"/>
                  </a:cubicBezTo>
                  <a:cubicBezTo>
                    <a:pt x="63" y="102"/>
                    <a:pt x="69" y="97"/>
                    <a:pt x="76" y="93"/>
                  </a:cubicBezTo>
                  <a:cubicBezTo>
                    <a:pt x="83" y="89"/>
                    <a:pt x="90" y="87"/>
                    <a:pt x="99" y="86"/>
                  </a:cubicBezTo>
                  <a:cubicBezTo>
                    <a:pt x="107" y="84"/>
                    <a:pt x="115" y="85"/>
                    <a:pt x="123" y="85"/>
                  </a:cubicBezTo>
                  <a:cubicBezTo>
                    <a:pt x="140" y="87"/>
                    <a:pt x="155" y="92"/>
                    <a:pt x="170" y="96"/>
                  </a:cubicBezTo>
                  <a:cubicBezTo>
                    <a:pt x="185" y="99"/>
                    <a:pt x="200" y="102"/>
                    <a:pt x="214" y="101"/>
                  </a:cubicBezTo>
                  <a:cubicBezTo>
                    <a:pt x="228" y="100"/>
                    <a:pt x="241" y="95"/>
                    <a:pt x="252" y="88"/>
                  </a:cubicBezTo>
                  <a:cubicBezTo>
                    <a:pt x="262" y="81"/>
                    <a:pt x="270" y="73"/>
                    <a:pt x="277" y="64"/>
                  </a:cubicBezTo>
                  <a:cubicBezTo>
                    <a:pt x="289" y="47"/>
                    <a:pt x="295" y="30"/>
                    <a:pt x="298" y="18"/>
                  </a:cubicBezTo>
                  <a:cubicBezTo>
                    <a:pt x="300" y="13"/>
                    <a:pt x="301" y="8"/>
                    <a:pt x="302" y="5"/>
                  </a:cubicBezTo>
                  <a:cubicBezTo>
                    <a:pt x="302" y="4"/>
                    <a:pt x="303" y="2"/>
                    <a:pt x="303" y="1"/>
                  </a:cubicBezTo>
                  <a:cubicBezTo>
                    <a:pt x="303" y="1"/>
                    <a:pt x="303" y="0"/>
                    <a:pt x="303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3" name="Freeform 74">
              <a:extLst>
                <a:ext uri="{FF2B5EF4-FFF2-40B4-BE49-F238E27FC236}">
                  <a16:creationId xmlns:a16="http://schemas.microsoft.com/office/drawing/2014/main" id="{38200C4E-8F70-417B-AD46-A147F6156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" y="2755"/>
              <a:ext cx="204" cy="59"/>
            </a:xfrm>
            <a:custGeom>
              <a:avLst/>
              <a:gdLst>
                <a:gd name="T0" fmla="*/ 85 w 86"/>
                <a:gd name="T1" fmla="*/ 7 h 25"/>
                <a:gd name="T2" fmla="*/ 72 w 86"/>
                <a:gd name="T3" fmla="*/ 4 h 25"/>
                <a:gd name="T4" fmla="*/ 58 w 86"/>
                <a:gd name="T5" fmla="*/ 2 h 25"/>
                <a:gd name="T6" fmla="*/ 40 w 86"/>
                <a:gd name="T7" fmla="*/ 4 h 25"/>
                <a:gd name="T8" fmla="*/ 23 w 86"/>
                <a:gd name="T9" fmla="*/ 9 h 25"/>
                <a:gd name="T10" fmla="*/ 10 w 86"/>
                <a:gd name="T11" fmla="*/ 17 h 25"/>
                <a:gd name="T12" fmla="*/ 0 w 86"/>
                <a:gd name="T13" fmla="*/ 25 h 25"/>
                <a:gd name="T14" fmla="*/ 2 w 86"/>
                <a:gd name="T15" fmla="*/ 22 h 25"/>
                <a:gd name="T16" fmla="*/ 10 w 86"/>
                <a:gd name="T17" fmla="*/ 16 h 25"/>
                <a:gd name="T18" fmla="*/ 22 w 86"/>
                <a:gd name="T19" fmla="*/ 8 h 25"/>
                <a:gd name="T20" fmla="*/ 40 w 86"/>
                <a:gd name="T21" fmla="*/ 2 h 25"/>
                <a:gd name="T22" fmla="*/ 58 w 86"/>
                <a:gd name="T23" fmla="*/ 0 h 25"/>
                <a:gd name="T24" fmla="*/ 73 w 86"/>
                <a:gd name="T25" fmla="*/ 2 h 25"/>
                <a:gd name="T26" fmla="*/ 82 w 86"/>
                <a:gd name="T27" fmla="*/ 5 h 25"/>
                <a:gd name="T28" fmla="*/ 85 w 86"/>
                <a:gd name="T2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25">
                  <a:moveTo>
                    <a:pt x="85" y="7"/>
                  </a:moveTo>
                  <a:cubicBezTo>
                    <a:pt x="85" y="7"/>
                    <a:pt x="80" y="5"/>
                    <a:pt x="72" y="4"/>
                  </a:cubicBezTo>
                  <a:cubicBezTo>
                    <a:pt x="68" y="3"/>
                    <a:pt x="63" y="2"/>
                    <a:pt x="58" y="2"/>
                  </a:cubicBezTo>
                  <a:cubicBezTo>
                    <a:pt x="52" y="2"/>
                    <a:pt x="46" y="2"/>
                    <a:pt x="40" y="4"/>
                  </a:cubicBezTo>
                  <a:cubicBezTo>
                    <a:pt x="34" y="5"/>
                    <a:pt x="28" y="7"/>
                    <a:pt x="23" y="9"/>
                  </a:cubicBezTo>
                  <a:cubicBezTo>
                    <a:pt x="18" y="12"/>
                    <a:pt x="14" y="14"/>
                    <a:pt x="10" y="17"/>
                  </a:cubicBezTo>
                  <a:cubicBezTo>
                    <a:pt x="4" y="22"/>
                    <a:pt x="0" y="25"/>
                    <a:pt x="0" y="25"/>
                  </a:cubicBezTo>
                  <a:cubicBezTo>
                    <a:pt x="0" y="25"/>
                    <a:pt x="0" y="24"/>
                    <a:pt x="2" y="22"/>
                  </a:cubicBezTo>
                  <a:cubicBezTo>
                    <a:pt x="4" y="21"/>
                    <a:pt x="6" y="18"/>
                    <a:pt x="10" y="16"/>
                  </a:cubicBezTo>
                  <a:cubicBezTo>
                    <a:pt x="13" y="13"/>
                    <a:pt x="17" y="10"/>
                    <a:pt x="22" y="8"/>
                  </a:cubicBezTo>
                  <a:cubicBezTo>
                    <a:pt x="27" y="5"/>
                    <a:pt x="33" y="3"/>
                    <a:pt x="40" y="2"/>
                  </a:cubicBezTo>
                  <a:cubicBezTo>
                    <a:pt x="46" y="0"/>
                    <a:pt x="52" y="0"/>
                    <a:pt x="58" y="0"/>
                  </a:cubicBezTo>
                  <a:cubicBezTo>
                    <a:pt x="63" y="0"/>
                    <a:pt x="68" y="1"/>
                    <a:pt x="73" y="2"/>
                  </a:cubicBezTo>
                  <a:cubicBezTo>
                    <a:pt x="77" y="3"/>
                    <a:pt x="80" y="4"/>
                    <a:pt x="82" y="5"/>
                  </a:cubicBezTo>
                  <a:cubicBezTo>
                    <a:pt x="84" y="6"/>
                    <a:pt x="86" y="7"/>
                    <a:pt x="85" y="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4" name="Freeform 75">
              <a:extLst>
                <a:ext uri="{FF2B5EF4-FFF2-40B4-BE49-F238E27FC236}">
                  <a16:creationId xmlns:a16="http://schemas.microsoft.com/office/drawing/2014/main" id="{5DFE1552-7B50-460F-82A7-7E5836DA3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2862"/>
              <a:ext cx="259" cy="85"/>
            </a:xfrm>
            <a:custGeom>
              <a:avLst/>
              <a:gdLst>
                <a:gd name="T0" fmla="*/ 109 w 109"/>
                <a:gd name="T1" fmla="*/ 0 h 36"/>
                <a:gd name="T2" fmla="*/ 107 w 109"/>
                <a:gd name="T3" fmla="*/ 4 h 36"/>
                <a:gd name="T4" fmla="*/ 99 w 109"/>
                <a:gd name="T5" fmla="*/ 15 h 36"/>
                <a:gd name="T6" fmla="*/ 60 w 109"/>
                <a:gd name="T7" fmla="*/ 34 h 36"/>
                <a:gd name="T8" fmla="*/ 17 w 109"/>
                <a:gd name="T9" fmla="*/ 32 h 36"/>
                <a:gd name="T10" fmla="*/ 4 w 109"/>
                <a:gd name="T11" fmla="*/ 29 h 36"/>
                <a:gd name="T12" fmla="*/ 0 w 109"/>
                <a:gd name="T13" fmla="*/ 27 h 36"/>
                <a:gd name="T14" fmla="*/ 5 w 109"/>
                <a:gd name="T15" fmla="*/ 28 h 36"/>
                <a:gd name="T16" fmla="*/ 17 w 109"/>
                <a:gd name="T17" fmla="*/ 30 h 36"/>
                <a:gd name="T18" fmla="*/ 60 w 109"/>
                <a:gd name="T19" fmla="*/ 32 h 36"/>
                <a:gd name="T20" fmla="*/ 98 w 109"/>
                <a:gd name="T21" fmla="*/ 14 h 36"/>
                <a:gd name="T22" fmla="*/ 109 w 109"/>
                <a:gd name="T2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6">
                  <a:moveTo>
                    <a:pt x="109" y="0"/>
                  </a:moveTo>
                  <a:cubicBezTo>
                    <a:pt x="109" y="0"/>
                    <a:pt x="108" y="2"/>
                    <a:pt x="107" y="4"/>
                  </a:cubicBezTo>
                  <a:cubicBezTo>
                    <a:pt x="105" y="7"/>
                    <a:pt x="103" y="11"/>
                    <a:pt x="99" y="15"/>
                  </a:cubicBezTo>
                  <a:cubicBezTo>
                    <a:pt x="91" y="23"/>
                    <a:pt x="77" y="31"/>
                    <a:pt x="60" y="34"/>
                  </a:cubicBezTo>
                  <a:cubicBezTo>
                    <a:pt x="43" y="36"/>
                    <a:pt x="28" y="34"/>
                    <a:pt x="17" y="32"/>
                  </a:cubicBezTo>
                  <a:cubicBezTo>
                    <a:pt x="12" y="31"/>
                    <a:pt x="7" y="30"/>
                    <a:pt x="4" y="29"/>
                  </a:cubicBezTo>
                  <a:cubicBezTo>
                    <a:pt x="1" y="28"/>
                    <a:pt x="0" y="27"/>
                    <a:pt x="0" y="27"/>
                  </a:cubicBezTo>
                  <a:cubicBezTo>
                    <a:pt x="0" y="27"/>
                    <a:pt x="1" y="27"/>
                    <a:pt x="5" y="28"/>
                  </a:cubicBezTo>
                  <a:cubicBezTo>
                    <a:pt x="8" y="29"/>
                    <a:pt x="12" y="29"/>
                    <a:pt x="17" y="30"/>
                  </a:cubicBezTo>
                  <a:cubicBezTo>
                    <a:pt x="28" y="32"/>
                    <a:pt x="43" y="34"/>
                    <a:pt x="60" y="32"/>
                  </a:cubicBezTo>
                  <a:cubicBezTo>
                    <a:pt x="76" y="29"/>
                    <a:pt x="90" y="21"/>
                    <a:pt x="98" y="14"/>
                  </a:cubicBezTo>
                  <a:cubicBezTo>
                    <a:pt x="106" y="6"/>
                    <a:pt x="109" y="0"/>
                    <a:pt x="109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5" name="Freeform 76">
              <a:extLst>
                <a:ext uri="{FF2B5EF4-FFF2-40B4-BE49-F238E27FC236}">
                  <a16:creationId xmlns:a16="http://schemas.microsoft.com/office/drawing/2014/main" id="{AC409A7A-8371-466C-850C-6CCFBF9A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7" y="2985"/>
              <a:ext cx="214" cy="259"/>
            </a:xfrm>
            <a:custGeom>
              <a:avLst/>
              <a:gdLst>
                <a:gd name="T0" fmla="*/ 90 w 90"/>
                <a:gd name="T1" fmla="*/ 0 h 109"/>
                <a:gd name="T2" fmla="*/ 89 w 90"/>
                <a:gd name="T3" fmla="*/ 2 h 109"/>
                <a:gd name="T4" fmla="*/ 86 w 90"/>
                <a:gd name="T5" fmla="*/ 8 h 109"/>
                <a:gd name="T6" fmla="*/ 70 w 90"/>
                <a:gd name="T7" fmla="*/ 25 h 109"/>
                <a:gd name="T8" fmla="*/ 45 w 90"/>
                <a:gd name="T9" fmla="*/ 49 h 109"/>
                <a:gd name="T10" fmla="*/ 40 w 90"/>
                <a:gd name="T11" fmla="*/ 68 h 109"/>
                <a:gd name="T12" fmla="*/ 43 w 90"/>
                <a:gd name="T13" fmla="*/ 77 h 109"/>
                <a:gd name="T14" fmla="*/ 52 w 90"/>
                <a:gd name="T15" fmla="*/ 82 h 109"/>
                <a:gd name="T16" fmla="*/ 59 w 90"/>
                <a:gd name="T17" fmla="*/ 75 h 109"/>
                <a:gd name="T18" fmla="*/ 57 w 90"/>
                <a:gd name="T19" fmla="*/ 66 h 109"/>
                <a:gd name="T20" fmla="*/ 49 w 90"/>
                <a:gd name="T21" fmla="*/ 60 h 109"/>
                <a:gd name="T22" fmla="*/ 40 w 90"/>
                <a:gd name="T23" fmla="*/ 60 h 109"/>
                <a:gd name="T24" fmla="*/ 23 w 90"/>
                <a:gd name="T25" fmla="*/ 68 h 109"/>
                <a:gd name="T26" fmla="*/ 12 w 90"/>
                <a:gd name="T27" fmla="*/ 80 h 109"/>
                <a:gd name="T28" fmla="*/ 2 w 90"/>
                <a:gd name="T29" fmla="*/ 101 h 109"/>
                <a:gd name="T30" fmla="*/ 0 w 90"/>
                <a:gd name="T31" fmla="*/ 109 h 109"/>
                <a:gd name="T32" fmla="*/ 0 w 90"/>
                <a:gd name="T33" fmla="*/ 107 h 109"/>
                <a:gd name="T34" fmla="*/ 1 w 90"/>
                <a:gd name="T35" fmla="*/ 100 h 109"/>
                <a:gd name="T36" fmla="*/ 11 w 90"/>
                <a:gd name="T37" fmla="*/ 79 h 109"/>
                <a:gd name="T38" fmla="*/ 22 w 90"/>
                <a:gd name="T39" fmla="*/ 67 h 109"/>
                <a:gd name="T40" fmla="*/ 39 w 90"/>
                <a:gd name="T41" fmla="*/ 58 h 109"/>
                <a:gd name="T42" fmla="*/ 59 w 90"/>
                <a:gd name="T43" fmla="*/ 64 h 109"/>
                <a:gd name="T44" fmla="*/ 61 w 90"/>
                <a:gd name="T45" fmla="*/ 70 h 109"/>
                <a:gd name="T46" fmla="*/ 61 w 90"/>
                <a:gd name="T47" fmla="*/ 76 h 109"/>
                <a:gd name="T48" fmla="*/ 58 w 90"/>
                <a:gd name="T49" fmla="*/ 81 h 109"/>
                <a:gd name="T50" fmla="*/ 52 w 90"/>
                <a:gd name="T51" fmla="*/ 84 h 109"/>
                <a:gd name="T52" fmla="*/ 42 w 90"/>
                <a:gd name="T53" fmla="*/ 79 h 109"/>
                <a:gd name="T54" fmla="*/ 38 w 90"/>
                <a:gd name="T55" fmla="*/ 68 h 109"/>
                <a:gd name="T56" fmla="*/ 44 w 90"/>
                <a:gd name="T57" fmla="*/ 48 h 109"/>
                <a:gd name="T58" fmla="*/ 69 w 90"/>
                <a:gd name="T59" fmla="*/ 23 h 109"/>
                <a:gd name="T60" fmla="*/ 86 w 90"/>
                <a:gd name="T61" fmla="*/ 7 h 109"/>
                <a:gd name="T62" fmla="*/ 90 w 90"/>
                <a:gd name="T6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" h="109">
                  <a:moveTo>
                    <a:pt x="90" y="0"/>
                  </a:moveTo>
                  <a:cubicBezTo>
                    <a:pt x="90" y="0"/>
                    <a:pt x="90" y="1"/>
                    <a:pt x="89" y="2"/>
                  </a:cubicBezTo>
                  <a:cubicBezTo>
                    <a:pt x="89" y="3"/>
                    <a:pt x="88" y="5"/>
                    <a:pt x="86" y="8"/>
                  </a:cubicBezTo>
                  <a:cubicBezTo>
                    <a:pt x="83" y="12"/>
                    <a:pt x="78" y="18"/>
                    <a:pt x="70" y="25"/>
                  </a:cubicBezTo>
                  <a:cubicBezTo>
                    <a:pt x="62" y="31"/>
                    <a:pt x="52" y="38"/>
                    <a:pt x="45" y="49"/>
                  </a:cubicBezTo>
                  <a:cubicBezTo>
                    <a:pt x="42" y="54"/>
                    <a:pt x="39" y="61"/>
                    <a:pt x="40" y="68"/>
                  </a:cubicBezTo>
                  <a:cubicBezTo>
                    <a:pt x="40" y="71"/>
                    <a:pt x="41" y="75"/>
                    <a:pt x="43" y="77"/>
                  </a:cubicBezTo>
                  <a:cubicBezTo>
                    <a:pt x="45" y="80"/>
                    <a:pt x="49" y="82"/>
                    <a:pt x="52" y="82"/>
                  </a:cubicBezTo>
                  <a:cubicBezTo>
                    <a:pt x="56" y="81"/>
                    <a:pt x="58" y="78"/>
                    <a:pt x="59" y="75"/>
                  </a:cubicBezTo>
                  <a:cubicBezTo>
                    <a:pt x="60" y="72"/>
                    <a:pt x="59" y="68"/>
                    <a:pt x="57" y="66"/>
                  </a:cubicBezTo>
                  <a:cubicBezTo>
                    <a:pt x="55" y="63"/>
                    <a:pt x="52" y="61"/>
                    <a:pt x="49" y="60"/>
                  </a:cubicBezTo>
                  <a:cubicBezTo>
                    <a:pt x="46" y="60"/>
                    <a:pt x="43" y="60"/>
                    <a:pt x="40" y="60"/>
                  </a:cubicBezTo>
                  <a:cubicBezTo>
                    <a:pt x="33" y="62"/>
                    <a:pt x="28" y="65"/>
                    <a:pt x="23" y="68"/>
                  </a:cubicBezTo>
                  <a:cubicBezTo>
                    <a:pt x="19" y="72"/>
                    <a:pt x="15" y="76"/>
                    <a:pt x="12" y="80"/>
                  </a:cubicBezTo>
                  <a:cubicBezTo>
                    <a:pt x="6" y="88"/>
                    <a:pt x="3" y="95"/>
                    <a:pt x="2" y="101"/>
                  </a:cubicBezTo>
                  <a:cubicBezTo>
                    <a:pt x="0" y="106"/>
                    <a:pt x="0" y="109"/>
                    <a:pt x="0" y="109"/>
                  </a:cubicBezTo>
                  <a:cubicBezTo>
                    <a:pt x="0" y="109"/>
                    <a:pt x="0" y="108"/>
                    <a:pt x="0" y="107"/>
                  </a:cubicBezTo>
                  <a:cubicBezTo>
                    <a:pt x="0" y="105"/>
                    <a:pt x="0" y="103"/>
                    <a:pt x="1" y="100"/>
                  </a:cubicBezTo>
                  <a:cubicBezTo>
                    <a:pt x="2" y="95"/>
                    <a:pt x="5" y="87"/>
                    <a:pt x="11" y="79"/>
                  </a:cubicBezTo>
                  <a:cubicBezTo>
                    <a:pt x="14" y="75"/>
                    <a:pt x="18" y="71"/>
                    <a:pt x="22" y="67"/>
                  </a:cubicBezTo>
                  <a:cubicBezTo>
                    <a:pt x="27" y="64"/>
                    <a:pt x="33" y="60"/>
                    <a:pt x="39" y="58"/>
                  </a:cubicBezTo>
                  <a:cubicBezTo>
                    <a:pt x="46" y="57"/>
                    <a:pt x="54" y="58"/>
                    <a:pt x="59" y="64"/>
                  </a:cubicBezTo>
                  <a:cubicBezTo>
                    <a:pt x="60" y="66"/>
                    <a:pt x="61" y="68"/>
                    <a:pt x="61" y="70"/>
                  </a:cubicBezTo>
                  <a:cubicBezTo>
                    <a:pt x="62" y="72"/>
                    <a:pt x="62" y="74"/>
                    <a:pt x="61" y="76"/>
                  </a:cubicBezTo>
                  <a:cubicBezTo>
                    <a:pt x="60" y="78"/>
                    <a:pt x="59" y="79"/>
                    <a:pt x="58" y="81"/>
                  </a:cubicBezTo>
                  <a:cubicBezTo>
                    <a:pt x="56" y="82"/>
                    <a:pt x="54" y="83"/>
                    <a:pt x="52" y="84"/>
                  </a:cubicBezTo>
                  <a:cubicBezTo>
                    <a:pt x="48" y="84"/>
                    <a:pt x="44" y="82"/>
                    <a:pt x="42" y="79"/>
                  </a:cubicBezTo>
                  <a:cubicBezTo>
                    <a:pt x="39" y="75"/>
                    <a:pt x="38" y="72"/>
                    <a:pt x="38" y="68"/>
                  </a:cubicBezTo>
                  <a:cubicBezTo>
                    <a:pt x="37" y="60"/>
                    <a:pt x="40" y="53"/>
                    <a:pt x="44" y="48"/>
                  </a:cubicBezTo>
                  <a:cubicBezTo>
                    <a:pt x="51" y="37"/>
                    <a:pt x="61" y="30"/>
                    <a:pt x="69" y="23"/>
                  </a:cubicBezTo>
                  <a:cubicBezTo>
                    <a:pt x="77" y="17"/>
                    <a:pt x="82" y="12"/>
                    <a:pt x="86" y="7"/>
                  </a:cubicBezTo>
                  <a:cubicBezTo>
                    <a:pt x="89" y="3"/>
                    <a:pt x="90" y="0"/>
                    <a:pt x="90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6" name="Freeform 77">
              <a:extLst>
                <a:ext uri="{FF2B5EF4-FFF2-40B4-BE49-F238E27FC236}">
                  <a16:creationId xmlns:a16="http://schemas.microsoft.com/office/drawing/2014/main" id="{5790C8F1-F25B-4972-96C4-3985B1DD0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5" y="3140"/>
              <a:ext cx="390" cy="109"/>
            </a:xfrm>
            <a:custGeom>
              <a:avLst/>
              <a:gdLst>
                <a:gd name="T0" fmla="*/ 149 w 164"/>
                <a:gd name="T1" fmla="*/ 0 h 46"/>
                <a:gd name="T2" fmla="*/ 147 w 164"/>
                <a:gd name="T3" fmla="*/ 0 h 46"/>
                <a:gd name="T4" fmla="*/ 0 w 164"/>
                <a:gd name="T5" fmla="*/ 12 h 46"/>
                <a:gd name="T6" fmla="*/ 1 w 164"/>
                <a:gd name="T7" fmla="*/ 23 h 46"/>
                <a:gd name="T8" fmla="*/ 15 w 164"/>
                <a:gd name="T9" fmla="*/ 33 h 46"/>
                <a:gd name="T10" fmla="*/ 31 w 164"/>
                <a:gd name="T11" fmla="*/ 46 h 46"/>
                <a:gd name="T12" fmla="*/ 76 w 164"/>
                <a:gd name="T13" fmla="*/ 38 h 46"/>
                <a:gd name="T14" fmla="*/ 147 w 164"/>
                <a:gd name="T15" fmla="*/ 25 h 46"/>
                <a:gd name="T16" fmla="*/ 160 w 164"/>
                <a:gd name="T17" fmla="*/ 18 h 46"/>
                <a:gd name="T18" fmla="*/ 161 w 164"/>
                <a:gd name="T19" fmla="*/ 4 h 46"/>
                <a:gd name="T20" fmla="*/ 149 w 164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46">
                  <a:moveTo>
                    <a:pt x="149" y="0"/>
                  </a:moveTo>
                  <a:cubicBezTo>
                    <a:pt x="148" y="0"/>
                    <a:pt x="147" y="0"/>
                    <a:pt x="147" y="0"/>
                  </a:cubicBezTo>
                  <a:cubicBezTo>
                    <a:pt x="96" y="2"/>
                    <a:pt x="48" y="5"/>
                    <a:pt x="0" y="1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6" y="26"/>
                    <a:pt x="11" y="29"/>
                    <a:pt x="15" y="33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45" y="40"/>
                    <a:pt x="61" y="39"/>
                    <a:pt x="76" y="38"/>
                  </a:cubicBezTo>
                  <a:cubicBezTo>
                    <a:pt x="100" y="37"/>
                    <a:pt x="125" y="34"/>
                    <a:pt x="147" y="25"/>
                  </a:cubicBezTo>
                  <a:cubicBezTo>
                    <a:pt x="152" y="24"/>
                    <a:pt x="156" y="22"/>
                    <a:pt x="160" y="18"/>
                  </a:cubicBezTo>
                  <a:cubicBezTo>
                    <a:pt x="163" y="14"/>
                    <a:pt x="164" y="8"/>
                    <a:pt x="161" y="4"/>
                  </a:cubicBezTo>
                  <a:cubicBezTo>
                    <a:pt x="158" y="1"/>
                    <a:pt x="153" y="0"/>
                    <a:pt x="149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7" name="Freeform 78">
              <a:extLst>
                <a:ext uri="{FF2B5EF4-FFF2-40B4-BE49-F238E27FC236}">
                  <a16:creationId xmlns:a16="http://schemas.microsoft.com/office/drawing/2014/main" id="{6DACC2F0-D833-4572-885D-9F694302B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7" y="3168"/>
              <a:ext cx="41" cy="26"/>
            </a:xfrm>
            <a:custGeom>
              <a:avLst/>
              <a:gdLst>
                <a:gd name="T0" fmla="*/ 16 w 17"/>
                <a:gd name="T1" fmla="*/ 0 h 11"/>
                <a:gd name="T2" fmla="*/ 0 w 17"/>
                <a:gd name="T3" fmla="*/ 3 h 11"/>
                <a:gd name="T4" fmla="*/ 17 w 17"/>
                <a:gd name="T5" fmla="*/ 11 h 11"/>
                <a:gd name="T6" fmla="*/ 16 w 17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1">
                  <a:moveTo>
                    <a:pt x="16" y="0"/>
                  </a:moveTo>
                  <a:cubicBezTo>
                    <a:pt x="10" y="1"/>
                    <a:pt x="5" y="2"/>
                    <a:pt x="0" y="3"/>
                  </a:cubicBezTo>
                  <a:cubicBezTo>
                    <a:pt x="6" y="5"/>
                    <a:pt x="11" y="8"/>
                    <a:pt x="17" y="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8" name="Freeform 79">
              <a:extLst>
                <a:ext uri="{FF2B5EF4-FFF2-40B4-BE49-F238E27FC236}">
                  <a16:creationId xmlns:a16="http://schemas.microsoft.com/office/drawing/2014/main" id="{8A6E2A1B-4E20-4688-A999-C8B4C3A63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978"/>
              <a:ext cx="168" cy="252"/>
            </a:xfrm>
            <a:custGeom>
              <a:avLst/>
              <a:gdLst>
                <a:gd name="T0" fmla="*/ 71 w 71"/>
                <a:gd name="T1" fmla="*/ 106 h 106"/>
                <a:gd name="T2" fmla="*/ 70 w 71"/>
                <a:gd name="T3" fmla="*/ 104 h 106"/>
                <a:gd name="T4" fmla="*/ 70 w 71"/>
                <a:gd name="T5" fmla="*/ 100 h 106"/>
                <a:gd name="T6" fmla="*/ 68 w 71"/>
                <a:gd name="T7" fmla="*/ 82 h 106"/>
                <a:gd name="T8" fmla="*/ 62 w 71"/>
                <a:gd name="T9" fmla="*/ 24 h 106"/>
                <a:gd name="T10" fmla="*/ 59 w 71"/>
                <a:gd name="T11" fmla="*/ 1 h 106"/>
                <a:gd name="T12" fmla="*/ 60 w 71"/>
                <a:gd name="T13" fmla="*/ 2 h 106"/>
                <a:gd name="T14" fmla="*/ 17 w 71"/>
                <a:gd name="T15" fmla="*/ 1 h 106"/>
                <a:gd name="T16" fmla="*/ 4 w 71"/>
                <a:gd name="T17" fmla="*/ 1 h 106"/>
                <a:gd name="T18" fmla="*/ 1 w 71"/>
                <a:gd name="T19" fmla="*/ 1 h 106"/>
                <a:gd name="T20" fmla="*/ 0 w 71"/>
                <a:gd name="T21" fmla="*/ 1 h 106"/>
                <a:gd name="T22" fmla="*/ 1 w 71"/>
                <a:gd name="T23" fmla="*/ 1 h 106"/>
                <a:gd name="T24" fmla="*/ 4 w 71"/>
                <a:gd name="T25" fmla="*/ 1 h 106"/>
                <a:gd name="T26" fmla="*/ 17 w 71"/>
                <a:gd name="T27" fmla="*/ 1 h 106"/>
                <a:gd name="T28" fmla="*/ 60 w 71"/>
                <a:gd name="T29" fmla="*/ 0 h 106"/>
                <a:gd name="T30" fmla="*/ 61 w 71"/>
                <a:gd name="T31" fmla="*/ 0 h 106"/>
                <a:gd name="T32" fmla="*/ 61 w 71"/>
                <a:gd name="T33" fmla="*/ 1 h 106"/>
                <a:gd name="T34" fmla="*/ 63 w 71"/>
                <a:gd name="T35" fmla="*/ 23 h 106"/>
                <a:gd name="T36" fmla="*/ 69 w 71"/>
                <a:gd name="T37" fmla="*/ 82 h 106"/>
                <a:gd name="T38" fmla="*/ 70 w 71"/>
                <a:gd name="T39" fmla="*/ 99 h 106"/>
                <a:gd name="T40" fmla="*/ 71 w 71"/>
                <a:gd name="T41" fmla="*/ 104 h 106"/>
                <a:gd name="T42" fmla="*/ 71 w 71"/>
                <a:gd name="T4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1" h="106">
                  <a:moveTo>
                    <a:pt x="71" y="106"/>
                  </a:moveTo>
                  <a:cubicBezTo>
                    <a:pt x="71" y="106"/>
                    <a:pt x="71" y="105"/>
                    <a:pt x="70" y="104"/>
                  </a:cubicBezTo>
                  <a:cubicBezTo>
                    <a:pt x="70" y="103"/>
                    <a:pt x="70" y="101"/>
                    <a:pt x="70" y="100"/>
                  </a:cubicBezTo>
                  <a:cubicBezTo>
                    <a:pt x="69" y="95"/>
                    <a:pt x="69" y="89"/>
                    <a:pt x="68" y="82"/>
                  </a:cubicBezTo>
                  <a:cubicBezTo>
                    <a:pt x="66" y="67"/>
                    <a:pt x="64" y="46"/>
                    <a:pt x="62" y="24"/>
                  </a:cubicBezTo>
                  <a:cubicBezTo>
                    <a:pt x="61" y="16"/>
                    <a:pt x="60" y="8"/>
                    <a:pt x="59" y="1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43" y="2"/>
                    <a:pt x="28" y="1"/>
                    <a:pt x="17" y="1"/>
                  </a:cubicBezTo>
                  <a:cubicBezTo>
                    <a:pt x="12" y="1"/>
                    <a:pt x="7" y="1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8" y="0"/>
                    <a:pt x="43" y="0"/>
                    <a:pt x="6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8"/>
                    <a:pt x="62" y="16"/>
                    <a:pt x="63" y="23"/>
                  </a:cubicBezTo>
                  <a:cubicBezTo>
                    <a:pt x="65" y="46"/>
                    <a:pt x="67" y="67"/>
                    <a:pt x="69" y="82"/>
                  </a:cubicBezTo>
                  <a:cubicBezTo>
                    <a:pt x="69" y="89"/>
                    <a:pt x="70" y="95"/>
                    <a:pt x="70" y="99"/>
                  </a:cubicBezTo>
                  <a:cubicBezTo>
                    <a:pt x="70" y="101"/>
                    <a:pt x="71" y="103"/>
                    <a:pt x="71" y="104"/>
                  </a:cubicBezTo>
                  <a:cubicBezTo>
                    <a:pt x="71" y="105"/>
                    <a:pt x="71" y="106"/>
                    <a:pt x="71" y="10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9" name="Freeform 80">
              <a:extLst>
                <a:ext uri="{FF2B5EF4-FFF2-40B4-BE49-F238E27FC236}">
                  <a16:creationId xmlns:a16="http://schemas.microsoft.com/office/drawing/2014/main" id="{F41F4483-1144-4A16-8B27-66F1EEF30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03"/>
              <a:ext cx="221" cy="168"/>
            </a:xfrm>
            <a:custGeom>
              <a:avLst/>
              <a:gdLst>
                <a:gd name="T0" fmla="*/ 5 w 93"/>
                <a:gd name="T1" fmla="*/ 19 h 71"/>
                <a:gd name="T2" fmla="*/ 68 w 93"/>
                <a:gd name="T3" fmla="*/ 71 h 71"/>
                <a:gd name="T4" fmla="*/ 93 w 93"/>
                <a:gd name="T5" fmla="*/ 67 h 71"/>
                <a:gd name="T6" fmla="*/ 17 w 93"/>
                <a:gd name="T7" fmla="*/ 3 h 71"/>
                <a:gd name="T8" fmla="*/ 4 w 93"/>
                <a:gd name="T9" fmla="*/ 4 h 71"/>
                <a:gd name="T10" fmla="*/ 5 w 93"/>
                <a:gd name="T11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71">
                  <a:moveTo>
                    <a:pt x="5" y="19"/>
                  </a:moveTo>
                  <a:cubicBezTo>
                    <a:pt x="24" y="34"/>
                    <a:pt x="68" y="71"/>
                    <a:pt x="68" y="71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3" y="0"/>
                    <a:pt x="7" y="0"/>
                    <a:pt x="4" y="4"/>
                  </a:cubicBezTo>
                  <a:cubicBezTo>
                    <a:pt x="0" y="8"/>
                    <a:pt x="0" y="15"/>
                    <a:pt x="5" y="1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0" name="Freeform 81">
              <a:extLst>
                <a:ext uri="{FF2B5EF4-FFF2-40B4-BE49-F238E27FC236}">
                  <a16:creationId xmlns:a16="http://schemas.microsoft.com/office/drawing/2014/main" id="{C512DE4A-5E89-490A-B933-C563C2669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" y="2686"/>
              <a:ext cx="43" cy="40"/>
            </a:xfrm>
            <a:custGeom>
              <a:avLst/>
              <a:gdLst>
                <a:gd name="T0" fmla="*/ 12 w 18"/>
                <a:gd name="T1" fmla="*/ 17 h 17"/>
                <a:gd name="T2" fmla="*/ 2 w 18"/>
                <a:gd name="T3" fmla="*/ 9 h 17"/>
                <a:gd name="T4" fmla="*/ 1 w 18"/>
                <a:gd name="T5" fmla="*/ 2 h 17"/>
                <a:gd name="T6" fmla="*/ 8 w 18"/>
                <a:gd name="T7" fmla="*/ 2 h 17"/>
                <a:gd name="T8" fmla="*/ 18 w 18"/>
                <a:gd name="T9" fmla="*/ 10 h 17"/>
                <a:gd name="T10" fmla="*/ 12 w 18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12" y="17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18" y="10"/>
                    <a:pt x="18" y="10"/>
                    <a:pt x="18" y="10"/>
                  </a:cubicBezTo>
                  <a:lnTo>
                    <a:pt x="12" y="17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1" name="Freeform 82">
              <a:extLst>
                <a:ext uri="{FF2B5EF4-FFF2-40B4-BE49-F238E27FC236}">
                  <a16:creationId xmlns:a16="http://schemas.microsoft.com/office/drawing/2014/main" id="{3D31DF23-A54B-4788-873E-B564507CC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" y="2738"/>
              <a:ext cx="33" cy="34"/>
            </a:xfrm>
            <a:custGeom>
              <a:avLst/>
              <a:gdLst>
                <a:gd name="T0" fmla="*/ 14 w 14"/>
                <a:gd name="T1" fmla="*/ 0 h 14"/>
                <a:gd name="T2" fmla="*/ 8 w 14"/>
                <a:gd name="T3" fmla="*/ 8 h 14"/>
                <a:gd name="T4" fmla="*/ 1 w 14"/>
                <a:gd name="T5" fmla="*/ 14 h 14"/>
                <a:gd name="T6" fmla="*/ 7 w 14"/>
                <a:gd name="T7" fmla="*/ 7 h 14"/>
                <a:gd name="T8" fmla="*/ 14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4" y="0"/>
                    <a:pt x="11" y="4"/>
                    <a:pt x="8" y="8"/>
                  </a:cubicBezTo>
                  <a:cubicBezTo>
                    <a:pt x="4" y="11"/>
                    <a:pt x="1" y="14"/>
                    <a:pt x="1" y="14"/>
                  </a:cubicBezTo>
                  <a:cubicBezTo>
                    <a:pt x="0" y="14"/>
                    <a:pt x="3" y="10"/>
                    <a:pt x="7" y="7"/>
                  </a:cubicBezTo>
                  <a:cubicBezTo>
                    <a:pt x="10" y="3"/>
                    <a:pt x="13" y="0"/>
                    <a:pt x="1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2" name="Freeform 83">
              <a:extLst>
                <a:ext uri="{FF2B5EF4-FFF2-40B4-BE49-F238E27FC236}">
                  <a16:creationId xmlns:a16="http://schemas.microsoft.com/office/drawing/2014/main" id="{1C0AD131-F253-4656-A61A-BA36B01CA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" y="2707"/>
              <a:ext cx="81" cy="105"/>
            </a:xfrm>
            <a:custGeom>
              <a:avLst/>
              <a:gdLst>
                <a:gd name="T0" fmla="*/ 34 w 34"/>
                <a:gd name="T1" fmla="*/ 44 h 44"/>
                <a:gd name="T2" fmla="*/ 26 w 34"/>
                <a:gd name="T3" fmla="*/ 39 h 44"/>
                <a:gd name="T4" fmla="*/ 9 w 34"/>
                <a:gd name="T5" fmla="*/ 26 h 44"/>
                <a:gd name="T6" fmla="*/ 1 w 34"/>
                <a:gd name="T7" fmla="*/ 17 h 44"/>
                <a:gd name="T8" fmla="*/ 1 w 34"/>
                <a:gd name="T9" fmla="*/ 7 h 44"/>
                <a:gd name="T10" fmla="*/ 5 w 34"/>
                <a:gd name="T11" fmla="*/ 1 h 44"/>
                <a:gd name="T12" fmla="*/ 7 w 34"/>
                <a:gd name="T13" fmla="*/ 0 h 44"/>
                <a:gd name="T14" fmla="*/ 5 w 34"/>
                <a:gd name="T15" fmla="*/ 2 h 44"/>
                <a:gd name="T16" fmla="*/ 2 w 34"/>
                <a:gd name="T17" fmla="*/ 7 h 44"/>
                <a:gd name="T18" fmla="*/ 2 w 34"/>
                <a:gd name="T19" fmla="*/ 16 h 44"/>
                <a:gd name="T20" fmla="*/ 10 w 34"/>
                <a:gd name="T21" fmla="*/ 25 h 44"/>
                <a:gd name="T22" fmla="*/ 27 w 34"/>
                <a:gd name="T23" fmla="*/ 38 h 44"/>
                <a:gd name="T24" fmla="*/ 34 w 34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4">
                  <a:moveTo>
                    <a:pt x="34" y="44"/>
                  </a:moveTo>
                  <a:cubicBezTo>
                    <a:pt x="33" y="44"/>
                    <a:pt x="30" y="43"/>
                    <a:pt x="26" y="39"/>
                  </a:cubicBezTo>
                  <a:cubicBezTo>
                    <a:pt x="21" y="36"/>
                    <a:pt x="15" y="31"/>
                    <a:pt x="9" y="26"/>
                  </a:cubicBezTo>
                  <a:cubicBezTo>
                    <a:pt x="6" y="23"/>
                    <a:pt x="3" y="20"/>
                    <a:pt x="1" y="17"/>
                  </a:cubicBezTo>
                  <a:cubicBezTo>
                    <a:pt x="0" y="13"/>
                    <a:pt x="0" y="9"/>
                    <a:pt x="1" y="7"/>
                  </a:cubicBezTo>
                  <a:cubicBezTo>
                    <a:pt x="2" y="4"/>
                    <a:pt x="4" y="2"/>
                    <a:pt x="5" y="1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0"/>
                    <a:pt x="6" y="1"/>
                    <a:pt x="5" y="2"/>
                  </a:cubicBezTo>
                  <a:cubicBezTo>
                    <a:pt x="4" y="3"/>
                    <a:pt x="3" y="5"/>
                    <a:pt x="2" y="7"/>
                  </a:cubicBezTo>
                  <a:cubicBezTo>
                    <a:pt x="1" y="10"/>
                    <a:pt x="1" y="13"/>
                    <a:pt x="2" y="16"/>
                  </a:cubicBezTo>
                  <a:cubicBezTo>
                    <a:pt x="4" y="19"/>
                    <a:pt x="7" y="22"/>
                    <a:pt x="10" y="25"/>
                  </a:cubicBezTo>
                  <a:cubicBezTo>
                    <a:pt x="16" y="30"/>
                    <a:pt x="22" y="35"/>
                    <a:pt x="27" y="38"/>
                  </a:cubicBezTo>
                  <a:cubicBezTo>
                    <a:pt x="31" y="42"/>
                    <a:pt x="34" y="44"/>
                    <a:pt x="34" y="4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3" name="Freeform 84">
              <a:extLst>
                <a:ext uri="{FF2B5EF4-FFF2-40B4-BE49-F238E27FC236}">
                  <a16:creationId xmlns:a16="http://schemas.microsoft.com/office/drawing/2014/main" id="{496CBB66-18F8-4BB7-995D-9458D2A6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857"/>
              <a:ext cx="430" cy="352"/>
            </a:xfrm>
            <a:custGeom>
              <a:avLst/>
              <a:gdLst>
                <a:gd name="T0" fmla="*/ 0 w 181"/>
                <a:gd name="T1" fmla="*/ 60 h 148"/>
                <a:gd name="T2" fmla="*/ 55 w 181"/>
                <a:gd name="T3" fmla="*/ 52 h 148"/>
                <a:gd name="T4" fmla="*/ 72 w 181"/>
                <a:gd name="T5" fmla="*/ 44 h 148"/>
                <a:gd name="T6" fmla="*/ 85 w 181"/>
                <a:gd name="T7" fmla="*/ 26 h 148"/>
                <a:gd name="T8" fmla="*/ 146 w 181"/>
                <a:gd name="T9" fmla="*/ 1 h 148"/>
                <a:gd name="T10" fmla="*/ 162 w 181"/>
                <a:gd name="T11" fmla="*/ 1 h 148"/>
                <a:gd name="T12" fmla="*/ 173 w 181"/>
                <a:gd name="T13" fmla="*/ 11 h 148"/>
                <a:gd name="T14" fmla="*/ 166 w 181"/>
                <a:gd name="T15" fmla="*/ 23 h 148"/>
                <a:gd name="T16" fmla="*/ 176 w 181"/>
                <a:gd name="T17" fmla="*/ 33 h 148"/>
                <a:gd name="T18" fmla="*/ 176 w 181"/>
                <a:gd name="T19" fmla="*/ 48 h 148"/>
                <a:gd name="T20" fmla="*/ 181 w 181"/>
                <a:gd name="T21" fmla="*/ 69 h 148"/>
                <a:gd name="T22" fmla="*/ 164 w 181"/>
                <a:gd name="T23" fmla="*/ 90 h 148"/>
                <a:gd name="T24" fmla="*/ 136 w 181"/>
                <a:gd name="T25" fmla="*/ 95 h 148"/>
                <a:gd name="T26" fmla="*/ 10 w 181"/>
                <a:gd name="T27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1" h="148">
                  <a:moveTo>
                    <a:pt x="0" y="60"/>
                  </a:moveTo>
                  <a:cubicBezTo>
                    <a:pt x="18" y="54"/>
                    <a:pt x="37" y="58"/>
                    <a:pt x="55" y="52"/>
                  </a:cubicBezTo>
                  <a:cubicBezTo>
                    <a:pt x="61" y="50"/>
                    <a:pt x="67" y="48"/>
                    <a:pt x="72" y="44"/>
                  </a:cubicBezTo>
                  <a:cubicBezTo>
                    <a:pt x="77" y="39"/>
                    <a:pt x="80" y="32"/>
                    <a:pt x="85" y="26"/>
                  </a:cubicBezTo>
                  <a:cubicBezTo>
                    <a:pt x="98" y="7"/>
                    <a:pt x="124" y="3"/>
                    <a:pt x="146" y="1"/>
                  </a:cubicBezTo>
                  <a:cubicBezTo>
                    <a:pt x="151" y="1"/>
                    <a:pt x="157" y="0"/>
                    <a:pt x="162" y="1"/>
                  </a:cubicBezTo>
                  <a:cubicBezTo>
                    <a:pt x="167" y="3"/>
                    <a:pt x="172" y="6"/>
                    <a:pt x="173" y="11"/>
                  </a:cubicBezTo>
                  <a:cubicBezTo>
                    <a:pt x="175" y="16"/>
                    <a:pt x="172" y="23"/>
                    <a:pt x="166" y="23"/>
                  </a:cubicBezTo>
                  <a:cubicBezTo>
                    <a:pt x="171" y="24"/>
                    <a:pt x="175" y="29"/>
                    <a:pt x="176" y="33"/>
                  </a:cubicBezTo>
                  <a:cubicBezTo>
                    <a:pt x="177" y="38"/>
                    <a:pt x="176" y="43"/>
                    <a:pt x="176" y="48"/>
                  </a:cubicBezTo>
                  <a:cubicBezTo>
                    <a:pt x="177" y="55"/>
                    <a:pt x="181" y="62"/>
                    <a:pt x="181" y="69"/>
                  </a:cubicBezTo>
                  <a:cubicBezTo>
                    <a:pt x="181" y="78"/>
                    <a:pt x="173" y="86"/>
                    <a:pt x="164" y="90"/>
                  </a:cubicBezTo>
                  <a:cubicBezTo>
                    <a:pt x="155" y="93"/>
                    <a:pt x="145" y="94"/>
                    <a:pt x="136" y="95"/>
                  </a:cubicBezTo>
                  <a:cubicBezTo>
                    <a:pt x="90" y="102"/>
                    <a:pt x="54" y="128"/>
                    <a:pt x="10" y="148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4" name="Freeform 85">
              <a:extLst>
                <a:ext uri="{FF2B5EF4-FFF2-40B4-BE49-F238E27FC236}">
                  <a16:creationId xmlns:a16="http://schemas.microsoft.com/office/drawing/2014/main" id="{AA75600C-8DFC-4EF9-A555-CB7FDDEB5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9" y="2876"/>
              <a:ext cx="76" cy="86"/>
            </a:xfrm>
            <a:custGeom>
              <a:avLst/>
              <a:gdLst>
                <a:gd name="T0" fmla="*/ 19 w 32"/>
                <a:gd name="T1" fmla="*/ 32 h 36"/>
                <a:gd name="T2" fmla="*/ 28 w 32"/>
                <a:gd name="T3" fmla="*/ 34 h 36"/>
                <a:gd name="T4" fmla="*/ 32 w 32"/>
                <a:gd name="T5" fmla="*/ 24 h 36"/>
                <a:gd name="T6" fmla="*/ 27 w 32"/>
                <a:gd name="T7" fmla="*/ 15 h 36"/>
                <a:gd name="T8" fmla="*/ 14 w 32"/>
                <a:gd name="T9" fmla="*/ 0 h 36"/>
                <a:gd name="T10" fmla="*/ 0 w 32"/>
                <a:gd name="T11" fmla="*/ 13 h 36"/>
                <a:gd name="T12" fmla="*/ 19 w 32"/>
                <a:gd name="T13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6">
                  <a:moveTo>
                    <a:pt x="19" y="32"/>
                  </a:moveTo>
                  <a:cubicBezTo>
                    <a:pt x="21" y="35"/>
                    <a:pt x="25" y="36"/>
                    <a:pt x="28" y="34"/>
                  </a:cubicBezTo>
                  <a:cubicBezTo>
                    <a:pt x="31" y="32"/>
                    <a:pt x="32" y="28"/>
                    <a:pt x="32" y="24"/>
                  </a:cubicBezTo>
                  <a:cubicBezTo>
                    <a:pt x="31" y="21"/>
                    <a:pt x="29" y="18"/>
                    <a:pt x="27" y="15"/>
                  </a:cubicBezTo>
                  <a:cubicBezTo>
                    <a:pt x="23" y="10"/>
                    <a:pt x="19" y="5"/>
                    <a:pt x="14" y="0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5" name="Freeform 86">
              <a:extLst>
                <a:ext uri="{FF2B5EF4-FFF2-40B4-BE49-F238E27FC236}">
                  <a16:creationId xmlns:a16="http://schemas.microsoft.com/office/drawing/2014/main" id="{D26238CD-5CE2-4A89-B88E-980A0F2B6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" y="2912"/>
              <a:ext cx="93" cy="16"/>
            </a:xfrm>
            <a:custGeom>
              <a:avLst/>
              <a:gdLst>
                <a:gd name="T0" fmla="*/ 39 w 39"/>
                <a:gd name="T1" fmla="*/ 1 h 7"/>
                <a:gd name="T2" fmla="*/ 19 w 39"/>
                <a:gd name="T3" fmla="*/ 3 h 7"/>
                <a:gd name="T4" fmla="*/ 0 w 39"/>
                <a:gd name="T5" fmla="*/ 7 h 7"/>
                <a:gd name="T6" fmla="*/ 6 w 39"/>
                <a:gd name="T7" fmla="*/ 5 h 7"/>
                <a:gd name="T8" fmla="*/ 19 w 39"/>
                <a:gd name="T9" fmla="*/ 1 h 7"/>
                <a:gd name="T10" fmla="*/ 33 w 39"/>
                <a:gd name="T11" fmla="*/ 0 h 7"/>
                <a:gd name="T12" fmla="*/ 39 w 39"/>
                <a:gd name="T1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7">
                  <a:moveTo>
                    <a:pt x="39" y="1"/>
                  </a:moveTo>
                  <a:cubicBezTo>
                    <a:pt x="39" y="2"/>
                    <a:pt x="30" y="1"/>
                    <a:pt x="19" y="3"/>
                  </a:cubicBezTo>
                  <a:cubicBezTo>
                    <a:pt x="9" y="4"/>
                    <a:pt x="1" y="7"/>
                    <a:pt x="0" y="7"/>
                  </a:cubicBezTo>
                  <a:cubicBezTo>
                    <a:pt x="0" y="7"/>
                    <a:pt x="2" y="6"/>
                    <a:pt x="6" y="5"/>
                  </a:cubicBezTo>
                  <a:cubicBezTo>
                    <a:pt x="9" y="3"/>
                    <a:pt x="14" y="2"/>
                    <a:pt x="19" y="1"/>
                  </a:cubicBezTo>
                  <a:cubicBezTo>
                    <a:pt x="25" y="0"/>
                    <a:pt x="30" y="0"/>
                    <a:pt x="33" y="0"/>
                  </a:cubicBezTo>
                  <a:cubicBezTo>
                    <a:pt x="37" y="1"/>
                    <a:pt x="39" y="1"/>
                    <a:pt x="39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6" name="Freeform 87">
              <a:extLst>
                <a:ext uri="{FF2B5EF4-FFF2-40B4-BE49-F238E27FC236}">
                  <a16:creationId xmlns:a16="http://schemas.microsoft.com/office/drawing/2014/main" id="{863C6728-760B-4E5B-8660-ED156F833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" y="2976"/>
              <a:ext cx="79" cy="9"/>
            </a:xfrm>
            <a:custGeom>
              <a:avLst/>
              <a:gdLst>
                <a:gd name="T0" fmla="*/ 33 w 33"/>
                <a:gd name="T1" fmla="*/ 2 h 4"/>
                <a:gd name="T2" fmla="*/ 17 w 33"/>
                <a:gd name="T3" fmla="*/ 1 h 4"/>
                <a:gd name="T4" fmla="*/ 0 w 33"/>
                <a:gd name="T5" fmla="*/ 3 h 4"/>
                <a:gd name="T6" fmla="*/ 17 w 33"/>
                <a:gd name="T7" fmla="*/ 0 h 4"/>
                <a:gd name="T8" fmla="*/ 33 w 3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">
                  <a:moveTo>
                    <a:pt x="33" y="2"/>
                  </a:moveTo>
                  <a:cubicBezTo>
                    <a:pt x="33" y="3"/>
                    <a:pt x="26" y="1"/>
                    <a:pt x="17" y="1"/>
                  </a:cubicBezTo>
                  <a:cubicBezTo>
                    <a:pt x="8" y="2"/>
                    <a:pt x="0" y="4"/>
                    <a:pt x="0" y="3"/>
                  </a:cubicBezTo>
                  <a:cubicBezTo>
                    <a:pt x="0" y="3"/>
                    <a:pt x="7" y="0"/>
                    <a:pt x="17" y="0"/>
                  </a:cubicBezTo>
                  <a:cubicBezTo>
                    <a:pt x="26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7" name="Freeform 88">
              <a:extLst>
                <a:ext uri="{FF2B5EF4-FFF2-40B4-BE49-F238E27FC236}">
                  <a16:creationId xmlns:a16="http://schemas.microsoft.com/office/drawing/2014/main" id="{71148717-6051-4BB1-8582-957200E1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8" y="2879"/>
              <a:ext cx="16" cy="83"/>
            </a:xfrm>
            <a:custGeom>
              <a:avLst/>
              <a:gdLst>
                <a:gd name="T0" fmla="*/ 7 w 7"/>
                <a:gd name="T1" fmla="*/ 35 h 35"/>
                <a:gd name="T2" fmla="*/ 6 w 7"/>
                <a:gd name="T3" fmla="*/ 30 h 35"/>
                <a:gd name="T4" fmla="*/ 2 w 7"/>
                <a:gd name="T5" fmla="*/ 18 h 35"/>
                <a:gd name="T6" fmla="*/ 0 w 7"/>
                <a:gd name="T7" fmla="*/ 15 h 35"/>
                <a:gd name="T8" fmla="*/ 0 w 7"/>
                <a:gd name="T9" fmla="*/ 15 h 35"/>
                <a:gd name="T10" fmla="*/ 0 w 7"/>
                <a:gd name="T11" fmla="*/ 14 h 35"/>
                <a:gd name="T12" fmla="*/ 4 w 7"/>
                <a:gd name="T13" fmla="*/ 5 h 35"/>
                <a:gd name="T14" fmla="*/ 3 w 7"/>
                <a:gd name="T15" fmla="*/ 0 h 35"/>
                <a:gd name="T16" fmla="*/ 5 w 7"/>
                <a:gd name="T17" fmla="*/ 5 h 35"/>
                <a:gd name="T18" fmla="*/ 1 w 7"/>
                <a:gd name="T19" fmla="*/ 15 h 35"/>
                <a:gd name="T20" fmla="*/ 1 w 7"/>
                <a:gd name="T21" fmla="*/ 14 h 35"/>
                <a:gd name="T22" fmla="*/ 3 w 7"/>
                <a:gd name="T23" fmla="*/ 17 h 35"/>
                <a:gd name="T24" fmla="*/ 7 w 7"/>
                <a:gd name="T25" fmla="*/ 29 h 35"/>
                <a:gd name="T26" fmla="*/ 7 w 7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35">
                  <a:moveTo>
                    <a:pt x="7" y="35"/>
                  </a:moveTo>
                  <a:cubicBezTo>
                    <a:pt x="6" y="35"/>
                    <a:pt x="7" y="33"/>
                    <a:pt x="6" y="30"/>
                  </a:cubicBezTo>
                  <a:cubicBezTo>
                    <a:pt x="6" y="26"/>
                    <a:pt x="5" y="22"/>
                    <a:pt x="2" y="18"/>
                  </a:cubicBezTo>
                  <a:cubicBezTo>
                    <a:pt x="1" y="17"/>
                    <a:pt x="1" y="16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1"/>
                    <a:pt x="4" y="7"/>
                    <a:pt x="4" y="5"/>
                  </a:cubicBezTo>
                  <a:cubicBezTo>
                    <a:pt x="4" y="2"/>
                    <a:pt x="3" y="0"/>
                    <a:pt x="3" y="0"/>
                  </a:cubicBezTo>
                  <a:cubicBezTo>
                    <a:pt x="3" y="0"/>
                    <a:pt x="4" y="2"/>
                    <a:pt x="5" y="5"/>
                  </a:cubicBezTo>
                  <a:cubicBezTo>
                    <a:pt x="5" y="7"/>
                    <a:pt x="4" y="12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5"/>
                    <a:pt x="2" y="16"/>
                    <a:pt x="3" y="17"/>
                  </a:cubicBezTo>
                  <a:cubicBezTo>
                    <a:pt x="6" y="21"/>
                    <a:pt x="7" y="26"/>
                    <a:pt x="7" y="29"/>
                  </a:cubicBezTo>
                  <a:cubicBezTo>
                    <a:pt x="7" y="33"/>
                    <a:pt x="7" y="35"/>
                    <a:pt x="7" y="35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8" name="Freeform 89">
              <a:extLst>
                <a:ext uri="{FF2B5EF4-FFF2-40B4-BE49-F238E27FC236}">
                  <a16:creationId xmlns:a16="http://schemas.microsoft.com/office/drawing/2014/main" id="{4C84C405-CD4B-4ACD-B6AF-75F88E354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2" y="2947"/>
              <a:ext cx="66" cy="86"/>
            </a:xfrm>
            <a:custGeom>
              <a:avLst/>
              <a:gdLst>
                <a:gd name="T0" fmla="*/ 1 w 28"/>
                <a:gd name="T1" fmla="*/ 0 h 36"/>
                <a:gd name="T2" fmla="*/ 25 w 28"/>
                <a:gd name="T3" fmla="*/ 22 h 36"/>
                <a:gd name="T4" fmla="*/ 28 w 28"/>
                <a:gd name="T5" fmla="*/ 36 h 36"/>
                <a:gd name="T6" fmla="*/ 6 w 28"/>
                <a:gd name="T7" fmla="*/ 31 h 36"/>
                <a:gd name="T8" fmla="*/ 1 w 28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6">
                  <a:moveTo>
                    <a:pt x="1" y="0"/>
                  </a:moveTo>
                  <a:cubicBezTo>
                    <a:pt x="25" y="22"/>
                    <a:pt x="25" y="22"/>
                    <a:pt x="25" y="22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3" y="20"/>
                    <a:pt x="0" y="9"/>
                    <a:pt x="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9" name="Freeform 90">
              <a:extLst>
                <a:ext uri="{FF2B5EF4-FFF2-40B4-BE49-F238E27FC236}">
                  <a16:creationId xmlns:a16="http://schemas.microsoft.com/office/drawing/2014/main" id="{B4AE3CB5-F1B9-4961-9973-5C7A40AE9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" y="3000"/>
              <a:ext cx="688" cy="197"/>
            </a:xfrm>
            <a:custGeom>
              <a:avLst/>
              <a:gdLst>
                <a:gd name="T0" fmla="*/ 127 w 290"/>
                <a:gd name="T1" fmla="*/ 6 h 83"/>
                <a:gd name="T2" fmla="*/ 0 w 290"/>
                <a:gd name="T3" fmla="*/ 70 h 83"/>
                <a:gd name="T4" fmla="*/ 0 w 290"/>
                <a:gd name="T5" fmla="*/ 83 h 83"/>
                <a:gd name="T6" fmla="*/ 129 w 290"/>
                <a:gd name="T7" fmla="*/ 16 h 83"/>
                <a:gd name="T8" fmla="*/ 290 w 290"/>
                <a:gd name="T9" fmla="*/ 10 h 83"/>
                <a:gd name="T10" fmla="*/ 290 w 290"/>
                <a:gd name="T11" fmla="*/ 0 h 83"/>
                <a:gd name="T12" fmla="*/ 127 w 290"/>
                <a:gd name="T13" fmla="*/ 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83">
                  <a:moveTo>
                    <a:pt x="127" y="6"/>
                  </a:moveTo>
                  <a:cubicBezTo>
                    <a:pt x="127" y="7"/>
                    <a:pt x="0" y="70"/>
                    <a:pt x="0" y="7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290" y="10"/>
                    <a:pt x="290" y="10"/>
                    <a:pt x="290" y="10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127" y="6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0" name="Freeform 91">
              <a:extLst>
                <a:ext uri="{FF2B5EF4-FFF2-40B4-BE49-F238E27FC236}">
                  <a16:creationId xmlns:a16="http://schemas.microsoft.com/office/drawing/2014/main" id="{5D6F1019-3F0A-4B23-BA1F-11C1B0736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" y="3023"/>
              <a:ext cx="688" cy="179"/>
            </a:xfrm>
            <a:custGeom>
              <a:avLst/>
              <a:gdLst>
                <a:gd name="T0" fmla="*/ 0 w 290"/>
                <a:gd name="T1" fmla="*/ 75 h 75"/>
                <a:gd name="T2" fmla="*/ 140 w 290"/>
                <a:gd name="T3" fmla="*/ 62 h 75"/>
                <a:gd name="T4" fmla="*/ 290 w 290"/>
                <a:gd name="T5" fmla="*/ 0 h 75"/>
                <a:gd name="T6" fmla="*/ 129 w 290"/>
                <a:gd name="T7" fmla="*/ 6 h 75"/>
                <a:gd name="T8" fmla="*/ 0 w 290"/>
                <a:gd name="T9" fmla="*/ 73 h 75"/>
                <a:gd name="T10" fmla="*/ 0 w 290"/>
                <a:gd name="T1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0" h="75">
                  <a:moveTo>
                    <a:pt x="0" y="75"/>
                  </a:moveTo>
                  <a:cubicBezTo>
                    <a:pt x="1" y="74"/>
                    <a:pt x="140" y="62"/>
                    <a:pt x="140" y="62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129" y="6"/>
                    <a:pt x="129" y="6"/>
                    <a:pt x="129" y="6"/>
                  </a:cubicBezTo>
                  <a:cubicBezTo>
                    <a:pt x="0" y="73"/>
                    <a:pt x="0" y="73"/>
                    <a:pt x="0" y="73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1" name="Freeform 92">
              <a:extLst>
                <a:ext uri="{FF2B5EF4-FFF2-40B4-BE49-F238E27FC236}">
                  <a16:creationId xmlns:a16="http://schemas.microsoft.com/office/drawing/2014/main" id="{549F44CB-99A8-450F-A07B-90F42C7B0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0" y="3047"/>
              <a:ext cx="290" cy="150"/>
            </a:xfrm>
            <a:custGeom>
              <a:avLst/>
              <a:gdLst>
                <a:gd name="T0" fmla="*/ 1 w 122"/>
                <a:gd name="T1" fmla="*/ 32 h 63"/>
                <a:gd name="T2" fmla="*/ 14 w 122"/>
                <a:gd name="T3" fmla="*/ 16 h 63"/>
                <a:gd name="T4" fmla="*/ 36 w 122"/>
                <a:gd name="T5" fmla="*/ 14 h 63"/>
                <a:gd name="T6" fmla="*/ 49 w 122"/>
                <a:gd name="T7" fmla="*/ 9 h 63"/>
                <a:gd name="T8" fmla="*/ 119 w 122"/>
                <a:gd name="T9" fmla="*/ 0 h 63"/>
                <a:gd name="T10" fmla="*/ 114 w 122"/>
                <a:gd name="T11" fmla="*/ 18 h 63"/>
                <a:gd name="T12" fmla="*/ 113 w 122"/>
                <a:gd name="T13" fmla="*/ 36 h 63"/>
                <a:gd name="T14" fmla="*/ 103 w 122"/>
                <a:gd name="T15" fmla="*/ 51 h 63"/>
                <a:gd name="T16" fmla="*/ 92 w 122"/>
                <a:gd name="T17" fmla="*/ 61 h 63"/>
                <a:gd name="T18" fmla="*/ 77 w 122"/>
                <a:gd name="T19" fmla="*/ 63 h 63"/>
                <a:gd name="T20" fmla="*/ 31 w 122"/>
                <a:gd name="T21" fmla="*/ 54 h 63"/>
                <a:gd name="T22" fmla="*/ 1 w 122"/>
                <a:gd name="T23" fmla="*/ 32 h 63"/>
                <a:gd name="T24" fmla="*/ 4 w 122"/>
                <a:gd name="T25" fmla="*/ 3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63">
                  <a:moveTo>
                    <a:pt x="1" y="32"/>
                  </a:moveTo>
                  <a:cubicBezTo>
                    <a:pt x="0" y="25"/>
                    <a:pt x="7" y="18"/>
                    <a:pt x="14" y="16"/>
                  </a:cubicBezTo>
                  <a:cubicBezTo>
                    <a:pt x="21" y="14"/>
                    <a:pt x="29" y="15"/>
                    <a:pt x="36" y="14"/>
                  </a:cubicBezTo>
                  <a:cubicBezTo>
                    <a:pt x="41" y="13"/>
                    <a:pt x="45" y="10"/>
                    <a:pt x="49" y="9"/>
                  </a:cubicBezTo>
                  <a:cubicBezTo>
                    <a:pt x="71" y="0"/>
                    <a:pt x="96" y="0"/>
                    <a:pt x="119" y="0"/>
                  </a:cubicBezTo>
                  <a:cubicBezTo>
                    <a:pt x="122" y="6"/>
                    <a:pt x="120" y="14"/>
                    <a:pt x="114" y="18"/>
                  </a:cubicBezTo>
                  <a:cubicBezTo>
                    <a:pt x="116" y="24"/>
                    <a:pt x="116" y="30"/>
                    <a:pt x="113" y="36"/>
                  </a:cubicBezTo>
                  <a:cubicBezTo>
                    <a:pt x="111" y="41"/>
                    <a:pt x="107" y="46"/>
                    <a:pt x="103" y="51"/>
                  </a:cubicBezTo>
                  <a:cubicBezTo>
                    <a:pt x="100" y="55"/>
                    <a:pt x="96" y="59"/>
                    <a:pt x="92" y="61"/>
                  </a:cubicBezTo>
                  <a:cubicBezTo>
                    <a:pt x="87" y="63"/>
                    <a:pt x="82" y="63"/>
                    <a:pt x="77" y="63"/>
                  </a:cubicBezTo>
                  <a:cubicBezTo>
                    <a:pt x="61" y="63"/>
                    <a:pt x="44" y="63"/>
                    <a:pt x="31" y="54"/>
                  </a:cubicBezTo>
                  <a:cubicBezTo>
                    <a:pt x="20" y="47"/>
                    <a:pt x="13" y="36"/>
                    <a:pt x="1" y="32"/>
                  </a:cubicBezTo>
                  <a:cubicBezTo>
                    <a:pt x="2" y="32"/>
                    <a:pt x="3" y="32"/>
                    <a:pt x="4" y="32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2" name="Freeform 93">
              <a:extLst>
                <a:ext uri="{FF2B5EF4-FFF2-40B4-BE49-F238E27FC236}">
                  <a16:creationId xmlns:a16="http://schemas.microsoft.com/office/drawing/2014/main" id="{5A26B954-F441-4CDE-B231-1055EC994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3071"/>
              <a:ext cx="159" cy="33"/>
            </a:xfrm>
            <a:custGeom>
              <a:avLst/>
              <a:gdLst>
                <a:gd name="T0" fmla="*/ 67 w 67"/>
                <a:gd name="T1" fmla="*/ 13 h 14"/>
                <a:gd name="T2" fmla="*/ 64 w 67"/>
                <a:gd name="T3" fmla="*/ 13 h 14"/>
                <a:gd name="T4" fmla="*/ 56 w 67"/>
                <a:gd name="T5" fmla="*/ 14 h 14"/>
                <a:gd name="T6" fmla="*/ 28 w 67"/>
                <a:gd name="T7" fmla="*/ 14 h 14"/>
                <a:gd name="T8" fmla="*/ 13 w 67"/>
                <a:gd name="T9" fmla="*/ 14 h 14"/>
                <a:gd name="T10" fmla="*/ 7 w 67"/>
                <a:gd name="T11" fmla="*/ 13 h 14"/>
                <a:gd name="T12" fmla="*/ 2 w 67"/>
                <a:gd name="T13" fmla="*/ 9 h 14"/>
                <a:gd name="T14" fmla="*/ 1 w 67"/>
                <a:gd name="T15" fmla="*/ 5 h 14"/>
                <a:gd name="T16" fmla="*/ 2 w 67"/>
                <a:gd name="T17" fmla="*/ 1 h 14"/>
                <a:gd name="T18" fmla="*/ 5 w 67"/>
                <a:gd name="T19" fmla="*/ 0 h 14"/>
                <a:gd name="T20" fmla="*/ 3 w 67"/>
                <a:gd name="T21" fmla="*/ 2 h 14"/>
                <a:gd name="T22" fmla="*/ 3 w 67"/>
                <a:gd name="T23" fmla="*/ 9 h 14"/>
                <a:gd name="T24" fmla="*/ 7 w 67"/>
                <a:gd name="T25" fmla="*/ 12 h 14"/>
                <a:gd name="T26" fmla="*/ 13 w 67"/>
                <a:gd name="T27" fmla="*/ 13 h 14"/>
                <a:gd name="T28" fmla="*/ 28 w 67"/>
                <a:gd name="T29" fmla="*/ 12 h 14"/>
                <a:gd name="T30" fmla="*/ 56 w 67"/>
                <a:gd name="T31" fmla="*/ 13 h 14"/>
                <a:gd name="T32" fmla="*/ 64 w 67"/>
                <a:gd name="T33" fmla="*/ 13 h 14"/>
                <a:gd name="T34" fmla="*/ 67 w 67"/>
                <a:gd name="T35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14">
                  <a:moveTo>
                    <a:pt x="67" y="13"/>
                  </a:moveTo>
                  <a:cubicBezTo>
                    <a:pt x="67" y="13"/>
                    <a:pt x="66" y="13"/>
                    <a:pt x="64" y="13"/>
                  </a:cubicBezTo>
                  <a:cubicBezTo>
                    <a:pt x="62" y="13"/>
                    <a:pt x="59" y="13"/>
                    <a:pt x="56" y="14"/>
                  </a:cubicBezTo>
                  <a:cubicBezTo>
                    <a:pt x="49" y="14"/>
                    <a:pt x="39" y="14"/>
                    <a:pt x="28" y="14"/>
                  </a:cubicBezTo>
                  <a:cubicBezTo>
                    <a:pt x="23" y="14"/>
                    <a:pt x="18" y="14"/>
                    <a:pt x="13" y="14"/>
                  </a:cubicBezTo>
                  <a:cubicBezTo>
                    <a:pt x="11" y="14"/>
                    <a:pt x="9" y="14"/>
                    <a:pt x="7" y="13"/>
                  </a:cubicBezTo>
                  <a:cubicBezTo>
                    <a:pt x="5" y="12"/>
                    <a:pt x="3" y="11"/>
                    <a:pt x="2" y="9"/>
                  </a:cubicBezTo>
                  <a:cubicBezTo>
                    <a:pt x="1" y="8"/>
                    <a:pt x="0" y="6"/>
                    <a:pt x="1" y="5"/>
                  </a:cubicBezTo>
                  <a:cubicBezTo>
                    <a:pt x="1" y="3"/>
                    <a:pt x="2" y="2"/>
                    <a:pt x="2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4" y="0"/>
                    <a:pt x="3" y="2"/>
                  </a:cubicBezTo>
                  <a:cubicBezTo>
                    <a:pt x="1" y="3"/>
                    <a:pt x="0" y="6"/>
                    <a:pt x="3" y="9"/>
                  </a:cubicBezTo>
                  <a:cubicBezTo>
                    <a:pt x="4" y="10"/>
                    <a:pt x="5" y="11"/>
                    <a:pt x="7" y="12"/>
                  </a:cubicBezTo>
                  <a:cubicBezTo>
                    <a:pt x="9" y="12"/>
                    <a:pt x="11" y="13"/>
                    <a:pt x="13" y="13"/>
                  </a:cubicBezTo>
                  <a:cubicBezTo>
                    <a:pt x="18" y="13"/>
                    <a:pt x="23" y="13"/>
                    <a:pt x="28" y="12"/>
                  </a:cubicBezTo>
                  <a:cubicBezTo>
                    <a:pt x="39" y="12"/>
                    <a:pt x="49" y="12"/>
                    <a:pt x="56" y="13"/>
                  </a:cubicBezTo>
                  <a:cubicBezTo>
                    <a:pt x="59" y="13"/>
                    <a:pt x="62" y="13"/>
                    <a:pt x="64" y="13"/>
                  </a:cubicBezTo>
                  <a:cubicBezTo>
                    <a:pt x="66" y="13"/>
                    <a:pt x="67" y="13"/>
                    <a:pt x="67" y="13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3" name="Freeform 94">
              <a:extLst>
                <a:ext uri="{FF2B5EF4-FFF2-40B4-BE49-F238E27FC236}">
                  <a16:creationId xmlns:a16="http://schemas.microsoft.com/office/drawing/2014/main" id="{4C7011E2-3852-4C02-BDD3-28D48E13A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3" y="3118"/>
              <a:ext cx="232" cy="22"/>
            </a:xfrm>
            <a:custGeom>
              <a:avLst/>
              <a:gdLst>
                <a:gd name="T0" fmla="*/ 98 w 98"/>
                <a:gd name="T1" fmla="*/ 6 h 9"/>
                <a:gd name="T2" fmla="*/ 94 w 98"/>
                <a:gd name="T3" fmla="*/ 7 h 9"/>
                <a:gd name="T4" fmla="*/ 84 w 98"/>
                <a:gd name="T5" fmla="*/ 8 h 9"/>
                <a:gd name="T6" fmla="*/ 68 w 98"/>
                <a:gd name="T7" fmla="*/ 9 h 9"/>
                <a:gd name="T8" fmla="*/ 49 w 98"/>
                <a:gd name="T9" fmla="*/ 6 h 9"/>
                <a:gd name="T10" fmla="*/ 14 w 98"/>
                <a:gd name="T11" fmla="*/ 1 h 9"/>
                <a:gd name="T12" fmla="*/ 4 w 98"/>
                <a:gd name="T13" fmla="*/ 2 h 9"/>
                <a:gd name="T14" fmla="*/ 0 w 98"/>
                <a:gd name="T15" fmla="*/ 2 h 9"/>
                <a:gd name="T16" fmla="*/ 4 w 98"/>
                <a:gd name="T17" fmla="*/ 1 h 9"/>
                <a:gd name="T18" fmla="*/ 14 w 98"/>
                <a:gd name="T19" fmla="*/ 0 h 9"/>
                <a:gd name="T20" fmla="*/ 49 w 98"/>
                <a:gd name="T21" fmla="*/ 4 h 9"/>
                <a:gd name="T22" fmla="*/ 68 w 98"/>
                <a:gd name="T23" fmla="*/ 7 h 9"/>
                <a:gd name="T24" fmla="*/ 84 w 98"/>
                <a:gd name="T25" fmla="*/ 7 h 9"/>
                <a:gd name="T26" fmla="*/ 94 w 98"/>
                <a:gd name="T27" fmla="*/ 7 h 9"/>
                <a:gd name="T28" fmla="*/ 98 w 98"/>
                <a:gd name="T2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">
                  <a:moveTo>
                    <a:pt x="98" y="6"/>
                  </a:moveTo>
                  <a:cubicBezTo>
                    <a:pt x="98" y="6"/>
                    <a:pt x="97" y="7"/>
                    <a:pt x="94" y="7"/>
                  </a:cubicBezTo>
                  <a:cubicBezTo>
                    <a:pt x="92" y="7"/>
                    <a:pt x="88" y="8"/>
                    <a:pt x="84" y="8"/>
                  </a:cubicBezTo>
                  <a:cubicBezTo>
                    <a:pt x="79" y="9"/>
                    <a:pt x="74" y="9"/>
                    <a:pt x="68" y="9"/>
                  </a:cubicBezTo>
                  <a:cubicBezTo>
                    <a:pt x="62" y="8"/>
                    <a:pt x="56" y="7"/>
                    <a:pt x="49" y="6"/>
                  </a:cubicBezTo>
                  <a:cubicBezTo>
                    <a:pt x="36" y="2"/>
                    <a:pt x="23" y="1"/>
                    <a:pt x="14" y="1"/>
                  </a:cubicBezTo>
                  <a:cubicBezTo>
                    <a:pt x="10" y="1"/>
                    <a:pt x="6" y="1"/>
                    <a:pt x="4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1" y="1"/>
                    <a:pt x="4" y="1"/>
                  </a:cubicBezTo>
                  <a:cubicBezTo>
                    <a:pt x="6" y="1"/>
                    <a:pt x="10" y="0"/>
                    <a:pt x="14" y="0"/>
                  </a:cubicBezTo>
                  <a:cubicBezTo>
                    <a:pt x="23" y="0"/>
                    <a:pt x="36" y="1"/>
                    <a:pt x="49" y="4"/>
                  </a:cubicBezTo>
                  <a:cubicBezTo>
                    <a:pt x="56" y="6"/>
                    <a:pt x="62" y="7"/>
                    <a:pt x="68" y="7"/>
                  </a:cubicBezTo>
                  <a:cubicBezTo>
                    <a:pt x="74" y="8"/>
                    <a:pt x="79" y="8"/>
                    <a:pt x="84" y="7"/>
                  </a:cubicBezTo>
                  <a:cubicBezTo>
                    <a:pt x="88" y="7"/>
                    <a:pt x="92" y="7"/>
                    <a:pt x="94" y="7"/>
                  </a:cubicBezTo>
                  <a:cubicBezTo>
                    <a:pt x="97" y="6"/>
                    <a:pt x="98" y="6"/>
                    <a:pt x="98" y="6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4" name="Freeform 95">
              <a:extLst>
                <a:ext uri="{FF2B5EF4-FFF2-40B4-BE49-F238E27FC236}">
                  <a16:creationId xmlns:a16="http://schemas.microsoft.com/office/drawing/2014/main" id="{61D3C201-2B2A-43A2-9A16-8FB009998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6" y="3137"/>
              <a:ext cx="178" cy="36"/>
            </a:xfrm>
            <a:custGeom>
              <a:avLst/>
              <a:gdLst>
                <a:gd name="T0" fmla="*/ 75 w 75"/>
                <a:gd name="T1" fmla="*/ 13 h 15"/>
                <a:gd name="T2" fmla="*/ 72 w 75"/>
                <a:gd name="T3" fmla="*/ 13 h 15"/>
                <a:gd name="T4" fmla="*/ 64 w 75"/>
                <a:gd name="T5" fmla="*/ 14 h 15"/>
                <a:gd name="T6" fmla="*/ 36 w 75"/>
                <a:gd name="T7" fmla="*/ 13 h 15"/>
                <a:gd name="T8" fmla="*/ 11 w 75"/>
                <a:gd name="T9" fmla="*/ 3 h 15"/>
                <a:gd name="T10" fmla="*/ 1 w 75"/>
                <a:gd name="T11" fmla="*/ 0 h 15"/>
                <a:gd name="T12" fmla="*/ 4 w 75"/>
                <a:gd name="T13" fmla="*/ 0 h 15"/>
                <a:gd name="T14" fmla="*/ 12 w 75"/>
                <a:gd name="T15" fmla="*/ 2 h 15"/>
                <a:gd name="T16" fmla="*/ 37 w 75"/>
                <a:gd name="T17" fmla="*/ 12 h 15"/>
                <a:gd name="T18" fmla="*/ 64 w 75"/>
                <a:gd name="T19" fmla="*/ 13 h 15"/>
                <a:gd name="T20" fmla="*/ 72 w 75"/>
                <a:gd name="T21" fmla="*/ 13 h 15"/>
                <a:gd name="T22" fmla="*/ 75 w 75"/>
                <a:gd name="T23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15">
                  <a:moveTo>
                    <a:pt x="75" y="13"/>
                  </a:moveTo>
                  <a:cubicBezTo>
                    <a:pt x="75" y="13"/>
                    <a:pt x="74" y="13"/>
                    <a:pt x="72" y="13"/>
                  </a:cubicBezTo>
                  <a:cubicBezTo>
                    <a:pt x="70" y="13"/>
                    <a:pt x="67" y="14"/>
                    <a:pt x="64" y="14"/>
                  </a:cubicBezTo>
                  <a:cubicBezTo>
                    <a:pt x="57" y="15"/>
                    <a:pt x="47" y="15"/>
                    <a:pt x="36" y="13"/>
                  </a:cubicBezTo>
                  <a:cubicBezTo>
                    <a:pt x="26" y="11"/>
                    <a:pt x="18" y="6"/>
                    <a:pt x="11" y="3"/>
                  </a:cubicBezTo>
                  <a:cubicBezTo>
                    <a:pt x="5" y="0"/>
                    <a:pt x="0" y="0"/>
                    <a:pt x="1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5" y="0"/>
                    <a:pt x="8" y="1"/>
                    <a:pt x="12" y="2"/>
                  </a:cubicBezTo>
                  <a:cubicBezTo>
                    <a:pt x="18" y="5"/>
                    <a:pt x="26" y="10"/>
                    <a:pt x="37" y="12"/>
                  </a:cubicBezTo>
                  <a:cubicBezTo>
                    <a:pt x="47" y="14"/>
                    <a:pt x="57" y="13"/>
                    <a:pt x="64" y="13"/>
                  </a:cubicBezTo>
                  <a:cubicBezTo>
                    <a:pt x="67" y="13"/>
                    <a:pt x="70" y="13"/>
                    <a:pt x="72" y="13"/>
                  </a:cubicBezTo>
                  <a:cubicBezTo>
                    <a:pt x="74" y="12"/>
                    <a:pt x="75" y="12"/>
                    <a:pt x="75" y="13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5" name="Freeform 96">
              <a:extLst>
                <a:ext uri="{FF2B5EF4-FFF2-40B4-BE49-F238E27FC236}">
                  <a16:creationId xmlns:a16="http://schemas.microsoft.com/office/drawing/2014/main" id="{DB8C3C29-B959-4331-8C68-05AC42318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" y="3270"/>
              <a:ext cx="639" cy="114"/>
            </a:xfrm>
            <a:custGeom>
              <a:avLst/>
              <a:gdLst>
                <a:gd name="T0" fmla="*/ 269 w 269"/>
                <a:gd name="T1" fmla="*/ 20 h 48"/>
                <a:gd name="T2" fmla="*/ 265 w 269"/>
                <a:gd name="T3" fmla="*/ 19 h 48"/>
                <a:gd name="T4" fmla="*/ 256 w 269"/>
                <a:gd name="T5" fmla="*/ 16 h 48"/>
                <a:gd name="T6" fmla="*/ 220 w 269"/>
                <a:gd name="T7" fmla="*/ 11 h 48"/>
                <a:gd name="T8" fmla="*/ 166 w 269"/>
                <a:gd name="T9" fmla="*/ 11 h 48"/>
                <a:gd name="T10" fmla="*/ 135 w 269"/>
                <a:gd name="T11" fmla="*/ 18 h 48"/>
                <a:gd name="T12" fmla="*/ 122 w 269"/>
                <a:gd name="T13" fmla="*/ 27 h 48"/>
                <a:gd name="T14" fmla="*/ 118 w 269"/>
                <a:gd name="T15" fmla="*/ 34 h 48"/>
                <a:gd name="T16" fmla="*/ 118 w 269"/>
                <a:gd name="T17" fmla="*/ 42 h 48"/>
                <a:gd name="T18" fmla="*/ 124 w 269"/>
                <a:gd name="T19" fmla="*/ 46 h 48"/>
                <a:gd name="T20" fmla="*/ 130 w 269"/>
                <a:gd name="T21" fmla="*/ 41 h 48"/>
                <a:gd name="T22" fmla="*/ 131 w 269"/>
                <a:gd name="T23" fmla="*/ 34 h 48"/>
                <a:gd name="T24" fmla="*/ 127 w 269"/>
                <a:gd name="T25" fmla="*/ 27 h 48"/>
                <a:gd name="T26" fmla="*/ 102 w 269"/>
                <a:gd name="T27" fmla="*/ 9 h 48"/>
                <a:gd name="T28" fmla="*/ 49 w 269"/>
                <a:gd name="T29" fmla="*/ 3 h 48"/>
                <a:gd name="T30" fmla="*/ 13 w 269"/>
                <a:gd name="T31" fmla="*/ 10 h 48"/>
                <a:gd name="T32" fmla="*/ 3 w 269"/>
                <a:gd name="T33" fmla="*/ 12 h 48"/>
                <a:gd name="T34" fmla="*/ 0 w 269"/>
                <a:gd name="T35" fmla="*/ 12 h 48"/>
                <a:gd name="T36" fmla="*/ 3 w 269"/>
                <a:gd name="T37" fmla="*/ 11 h 48"/>
                <a:gd name="T38" fmla="*/ 13 w 269"/>
                <a:gd name="T39" fmla="*/ 9 h 48"/>
                <a:gd name="T40" fmla="*/ 49 w 269"/>
                <a:gd name="T41" fmla="*/ 2 h 48"/>
                <a:gd name="T42" fmla="*/ 102 w 269"/>
                <a:gd name="T43" fmla="*/ 8 h 48"/>
                <a:gd name="T44" fmla="*/ 129 w 269"/>
                <a:gd name="T45" fmla="*/ 25 h 48"/>
                <a:gd name="T46" fmla="*/ 133 w 269"/>
                <a:gd name="T47" fmla="*/ 33 h 48"/>
                <a:gd name="T48" fmla="*/ 132 w 269"/>
                <a:gd name="T49" fmla="*/ 42 h 48"/>
                <a:gd name="T50" fmla="*/ 125 w 269"/>
                <a:gd name="T51" fmla="*/ 48 h 48"/>
                <a:gd name="T52" fmla="*/ 117 w 269"/>
                <a:gd name="T53" fmla="*/ 43 h 48"/>
                <a:gd name="T54" fmla="*/ 121 w 269"/>
                <a:gd name="T55" fmla="*/ 26 h 48"/>
                <a:gd name="T56" fmla="*/ 135 w 269"/>
                <a:gd name="T57" fmla="*/ 16 h 48"/>
                <a:gd name="T58" fmla="*/ 166 w 269"/>
                <a:gd name="T59" fmla="*/ 9 h 48"/>
                <a:gd name="T60" fmla="*/ 220 w 269"/>
                <a:gd name="T61" fmla="*/ 9 h 48"/>
                <a:gd name="T62" fmla="*/ 256 w 269"/>
                <a:gd name="T63" fmla="*/ 16 h 48"/>
                <a:gd name="T64" fmla="*/ 265 w 269"/>
                <a:gd name="T65" fmla="*/ 18 h 48"/>
                <a:gd name="T66" fmla="*/ 269 w 269"/>
                <a:gd name="T67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9" h="48">
                  <a:moveTo>
                    <a:pt x="269" y="20"/>
                  </a:moveTo>
                  <a:cubicBezTo>
                    <a:pt x="269" y="20"/>
                    <a:pt x="267" y="19"/>
                    <a:pt x="265" y="19"/>
                  </a:cubicBezTo>
                  <a:cubicBezTo>
                    <a:pt x="263" y="18"/>
                    <a:pt x="260" y="17"/>
                    <a:pt x="256" y="16"/>
                  </a:cubicBezTo>
                  <a:cubicBezTo>
                    <a:pt x="247" y="14"/>
                    <a:pt x="235" y="12"/>
                    <a:pt x="220" y="11"/>
                  </a:cubicBezTo>
                  <a:cubicBezTo>
                    <a:pt x="205" y="9"/>
                    <a:pt x="186" y="9"/>
                    <a:pt x="166" y="11"/>
                  </a:cubicBezTo>
                  <a:cubicBezTo>
                    <a:pt x="156" y="12"/>
                    <a:pt x="145" y="14"/>
                    <a:pt x="135" y="18"/>
                  </a:cubicBezTo>
                  <a:cubicBezTo>
                    <a:pt x="130" y="20"/>
                    <a:pt x="126" y="23"/>
                    <a:pt x="122" y="27"/>
                  </a:cubicBezTo>
                  <a:cubicBezTo>
                    <a:pt x="120" y="30"/>
                    <a:pt x="119" y="32"/>
                    <a:pt x="118" y="34"/>
                  </a:cubicBezTo>
                  <a:cubicBezTo>
                    <a:pt x="117" y="37"/>
                    <a:pt x="117" y="40"/>
                    <a:pt x="118" y="42"/>
                  </a:cubicBezTo>
                  <a:cubicBezTo>
                    <a:pt x="119" y="45"/>
                    <a:pt x="122" y="46"/>
                    <a:pt x="124" y="46"/>
                  </a:cubicBezTo>
                  <a:cubicBezTo>
                    <a:pt x="127" y="45"/>
                    <a:pt x="129" y="43"/>
                    <a:pt x="130" y="41"/>
                  </a:cubicBezTo>
                  <a:cubicBezTo>
                    <a:pt x="132" y="39"/>
                    <a:pt x="132" y="36"/>
                    <a:pt x="131" y="34"/>
                  </a:cubicBezTo>
                  <a:cubicBezTo>
                    <a:pt x="131" y="31"/>
                    <a:pt x="129" y="29"/>
                    <a:pt x="127" y="27"/>
                  </a:cubicBezTo>
                  <a:cubicBezTo>
                    <a:pt x="120" y="19"/>
                    <a:pt x="111" y="13"/>
                    <a:pt x="102" y="9"/>
                  </a:cubicBezTo>
                  <a:cubicBezTo>
                    <a:pt x="83" y="2"/>
                    <a:pt x="64" y="2"/>
                    <a:pt x="49" y="3"/>
                  </a:cubicBezTo>
                  <a:cubicBezTo>
                    <a:pt x="34" y="5"/>
                    <a:pt x="22" y="8"/>
                    <a:pt x="13" y="10"/>
                  </a:cubicBezTo>
                  <a:cubicBezTo>
                    <a:pt x="9" y="10"/>
                    <a:pt x="6" y="11"/>
                    <a:pt x="3" y="12"/>
                  </a:cubicBezTo>
                  <a:cubicBezTo>
                    <a:pt x="1" y="12"/>
                    <a:pt x="0" y="12"/>
                    <a:pt x="0" y="12"/>
                  </a:cubicBezTo>
                  <a:cubicBezTo>
                    <a:pt x="0" y="12"/>
                    <a:pt x="1" y="12"/>
                    <a:pt x="3" y="11"/>
                  </a:cubicBezTo>
                  <a:cubicBezTo>
                    <a:pt x="6" y="11"/>
                    <a:pt x="9" y="10"/>
                    <a:pt x="13" y="9"/>
                  </a:cubicBezTo>
                  <a:cubicBezTo>
                    <a:pt x="21" y="7"/>
                    <a:pt x="33" y="4"/>
                    <a:pt x="49" y="2"/>
                  </a:cubicBezTo>
                  <a:cubicBezTo>
                    <a:pt x="64" y="0"/>
                    <a:pt x="83" y="0"/>
                    <a:pt x="102" y="8"/>
                  </a:cubicBezTo>
                  <a:cubicBezTo>
                    <a:pt x="112" y="11"/>
                    <a:pt x="121" y="17"/>
                    <a:pt x="129" y="25"/>
                  </a:cubicBezTo>
                  <a:cubicBezTo>
                    <a:pt x="131" y="28"/>
                    <a:pt x="132" y="30"/>
                    <a:pt x="133" y="33"/>
                  </a:cubicBezTo>
                  <a:cubicBezTo>
                    <a:pt x="134" y="36"/>
                    <a:pt x="134" y="39"/>
                    <a:pt x="132" y="42"/>
                  </a:cubicBezTo>
                  <a:cubicBezTo>
                    <a:pt x="131" y="45"/>
                    <a:pt x="128" y="47"/>
                    <a:pt x="125" y="48"/>
                  </a:cubicBezTo>
                  <a:cubicBezTo>
                    <a:pt x="121" y="48"/>
                    <a:pt x="118" y="46"/>
                    <a:pt x="117" y="43"/>
                  </a:cubicBezTo>
                  <a:cubicBezTo>
                    <a:pt x="114" y="37"/>
                    <a:pt x="117" y="30"/>
                    <a:pt x="121" y="26"/>
                  </a:cubicBezTo>
                  <a:cubicBezTo>
                    <a:pt x="124" y="21"/>
                    <a:pt x="129" y="18"/>
                    <a:pt x="135" y="16"/>
                  </a:cubicBezTo>
                  <a:cubicBezTo>
                    <a:pt x="145" y="12"/>
                    <a:pt x="156" y="10"/>
                    <a:pt x="166" y="9"/>
                  </a:cubicBezTo>
                  <a:cubicBezTo>
                    <a:pt x="186" y="7"/>
                    <a:pt x="205" y="8"/>
                    <a:pt x="220" y="9"/>
                  </a:cubicBezTo>
                  <a:cubicBezTo>
                    <a:pt x="235" y="11"/>
                    <a:pt x="248" y="13"/>
                    <a:pt x="256" y="16"/>
                  </a:cubicBezTo>
                  <a:cubicBezTo>
                    <a:pt x="260" y="17"/>
                    <a:pt x="263" y="18"/>
                    <a:pt x="265" y="18"/>
                  </a:cubicBezTo>
                  <a:cubicBezTo>
                    <a:pt x="268" y="19"/>
                    <a:pt x="269" y="19"/>
                    <a:pt x="269" y="2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6" name="Freeform 97">
              <a:extLst>
                <a:ext uri="{FF2B5EF4-FFF2-40B4-BE49-F238E27FC236}">
                  <a16:creationId xmlns:a16="http://schemas.microsoft.com/office/drawing/2014/main" id="{925D01CC-A1C0-4965-A222-70D5C0CE5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3748"/>
              <a:ext cx="487" cy="221"/>
            </a:xfrm>
            <a:custGeom>
              <a:avLst/>
              <a:gdLst>
                <a:gd name="T0" fmla="*/ 31 w 205"/>
                <a:gd name="T1" fmla="*/ 2 h 93"/>
                <a:gd name="T2" fmla="*/ 103 w 205"/>
                <a:gd name="T3" fmla="*/ 5 h 93"/>
                <a:gd name="T4" fmla="*/ 205 w 205"/>
                <a:gd name="T5" fmla="*/ 47 h 93"/>
                <a:gd name="T6" fmla="*/ 74 w 205"/>
                <a:gd name="T7" fmla="*/ 74 h 93"/>
                <a:gd name="T8" fmla="*/ 0 w 205"/>
                <a:gd name="T9" fmla="*/ 60 h 93"/>
                <a:gd name="T10" fmla="*/ 31 w 205"/>
                <a:gd name="T11" fmla="*/ 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" h="93">
                  <a:moveTo>
                    <a:pt x="31" y="2"/>
                  </a:moveTo>
                  <a:cubicBezTo>
                    <a:pt x="31" y="2"/>
                    <a:pt x="69" y="10"/>
                    <a:pt x="103" y="5"/>
                  </a:cubicBezTo>
                  <a:cubicBezTo>
                    <a:pt x="134" y="0"/>
                    <a:pt x="205" y="5"/>
                    <a:pt x="205" y="47"/>
                  </a:cubicBezTo>
                  <a:cubicBezTo>
                    <a:pt x="205" y="93"/>
                    <a:pt x="111" y="82"/>
                    <a:pt x="74" y="74"/>
                  </a:cubicBezTo>
                  <a:cubicBezTo>
                    <a:pt x="37" y="67"/>
                    <a:pt x="0" y="60"/>
                    <a:pt x="0" y="60"/>
                  </a:cubicBezTo>
                  <a:cubicBezTo>
                    <a:pt x="31" y="2"/>
                    <a:pt x="31" y="2"/>
                    <a:pt x="31" y="2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7" name="Freeform 98">
              <a:extLst>
                <a:ext uri="{FF2B5EF4-FFF2-40B4-BE49-F238E27FC236}">
                  <a16:creationId xmlns:a16="http://schemas.microsoft.com/office/drawing/2014/main" id="{8206BC7E-4697-45F3-83F4-E608C977E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" y="3814"/>
              <a:ext cx="22" cy="79"/>
            </a:xfrm>
            <a:custGeom>
              <a:avLst/>
              <a:gdLst>
                <a:gd name="T0" fmla="*/ 1 w 9"/>
                <a:gd name="T1" fmla="*/ 33 h 33"/>
                <a:gd name="T2" fmla="*/ 5 w 9"/>
                <a:gd name="T3" fmla="*/ 17 h 33"/>
                <a:gd name="T4" fmla="*/ 8 w 9"/>
                <a:gd name="T5" fmla="*/ 0 h 33"/>
                <a:gd name="T6" fmla="*/ 4 w 9"/>
                <a:gd name="T7" fmla="*/ 17 h 33"/>
                <a:gd name="T8" fmla="*/ 1 w 9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3">
                  <a:moveTo>
                    <a:pt x="1" y="33"/>
                  </a:moveTo>
                  <a:cubicBezTo>
                    <a:pt x="1" y="33"/>
                    <a:pt x="3" y="26"/>
                    <a:pt x="5" y="17"/>
                  </a:cubicBezTo>
                  <a:cubicBezTo>
                    <a:pt x="8" y="8"/>
                    <a:pt x="9" y="1"/>
                    <a:pt x="8" y="0"/>
                  </a:cubicBezTo>
                  <a:cubicBezTo>
                    <a:pt x="8" y="0"/>
                    <a:pt x="6" y="8"/>
                    <a:pt x="4" y="17"/>
                  </a:cubicBezTo>
                  <a:cubicBezTo>
                    <a:pt x="2" y="26"/>
                    <a:pt x="0" y="33"/>
                    <a:pt x="1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8" name="Freeform 99">
              <a:extLst>
                <a:ext uri="{FF2B5EF4-FFF2-40B4-BE49-F238E27FC236}">
                  <a16:creationId xmlns:a16="http://schemas.microsoft.com/office/drawing/2014/main" id="{A04B7465-CA4D-41BF-9029-966BA2388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3" y="3814"/>
              <a:ext cx="12" cy="81"/>
            </a:xfrm>
            <a:custGeom>
              <a:avLst/>
              <a:gdLst>
                <a:gd name="T0" fmla="*/ 0 w 5"/>
                <a:gd name="T1" fmla="*/ 34 h 34"/>
                <a:gd name="T2" fmla="*/ 3 w 5"/>
                <a:gd name="T3" fmla="*/ 17 h 34"/>
                <a:gd name="T4" fmla="*/ 5 w 5"/>
                <a:gd name="T5" fmla="*/ 0 h 34"/>
                <a:gd name="T6" fmla="*/ 1 w 5"/>
                <a:gd name="T7" fmla="*/ 17 h 34"/>
                <a:gd name="T8" fmla="*/ 0 w 5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cubicBezTo>
                    <a:pt x="1" y="34"/>
                    <a:pt x="2" y="27"/>
                    <a:pt x="3" y="17"/>
                  </a:cubicBezTo>
                  <a:cubicBezTo>
                    <a:pt x="4" y="8"/>
                    <a:pt x="5" y="0"/>
                    <a:pt x="5" y="0"/>
                  </a:cubicBezTo>
                  <a:cubicBezTo>
                    <a:pt x="4" y="0"/>
                    <a:pt x="3" y="8"/>
                    <a:pt x="1" y="17"/>
                  </a:cubicBezTo>
                  <a:cubicBezTo>
                    <a:pt x="0" y="26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9" name="Freeform 100">
              <a:extLst>
                <a:ext uri="{FF2B5EF4-FFF2-40B4-BE49-F238E27FC236}">
                  <a16:creationId xmlns:a16="http://schemas.microsoft.com/office/drawing/2014/main" id="{9B372141-10DD-428E-AE23-BD589443F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3814"/>
              <a:ext cx="12" cy="69"/>
            </a:xfrm>
            <a:custGeom>
              <a:avLst/>
              <a:gdLst>
                <a:gd name="T0" fmla="*/ 1 w 5"/>
                <a:gd name="T1" fmla="*/ 29 h 29"/>
                <a:gd name="T2" fmla="*/ 3 w 5"/>
                <a:gd name="T3" fmla="*/ 15 h 29"/>
                <a:gd name="T4" fmla="*/ 4 w 5"/>
                <a:gd name="T5" fmla="*/ 0 h 29"/>
                <a:gd name="T6" fmla="*/ 1 w 5"/>
                <a:gd name="T7" fmla="*/ 14 h 29"/>
                <a:gd name="T8" fmla="*/ 1 w 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9">
                  <a:moveTo>
                    <a:pt x="1" y="29"/>
                  </a:moveTo>
                  <a:cubicBezTo>
                    <a:pt x="1" y="29"/>
                    <a:pt x="2" y="23"/>
                    <a:pt x="3" y="15"/>
                  </a:cubicBezTo>
                  <a:cubicBezTo>
                    <a:pt x="4" y="6"/>
                    <a:pt x="5" y="0"/>
                    <a:pt x="4" y="0"/>
                  </a:cubicBezTo>
                  <a:cubicBezTo>
                    <a:pt x="4" y="0"/>
                    <a:pt x="2" y="6"/>
                    <a:pt x="1" y="14"/>
                  </a:cubicBezTo>
                  <a:cubicBezTo>
                    <a:pt x="0" y="22"/>
                    <a:pt x="0" y="29"/>
                    <a:pt x="1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0" name="Freeform 101">
              <a:extLst>
                <a:ext uri="{FF2B5EF4-FFF2-40B4-BE49-F238E27FC236}">
                  <a16:creationId xmlns:a16="http://schemas.microsoft.com/office/drawing/2014/main" id="{7588CEC9-3E57-42DF-8A17-E8F60C62F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" y="3810"/>
              <a:ext cx="16" cy="61"/>
            </a:xfrm>
            <a:custGeom>
              <a:avLst/>
              <a:gdLst>
                <a:gd name="T0" fmla="*/ 0 w 7"/>
                <a:gd name="T1" fmla="*/ 26 h 26"/>
                <a:gd name="T2" fmla="*/ 5 w 7"/>
                <a:gd name="T3" fmla="*/ 14 h 26"/>
                <a:gd name="T4" fmla="*/ 6 w 7"/>
                <a:gd name="T5" fmla="*/ 0 h 26"/>
                <a:gd name="T6" fmla="*/ 3 w 7"/>
                <a:gd name="T7" fmla="*/ 13 h 26"/>
                <a:gd name="T8" fmla="*/ 0 w 7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6">
                  <a:moveTo>
                    <a:pt x="0" y="26"/>
                  </a:moveTo>
                  <a:cubicBezTo>
                    <a:pt x="0" y="26"/>
                    <a:pt x="3" y="21"/>
                    <a:pt x="5" y="14"/>
                  </a:cubicBezTo>
                  <a:cubicBezTo>
                    <a:pt x="7" y="6"/>
                    <a:pt x="7" y="0"/>
                    <a:pt x="6" y="0"/>
                  </a:cubicBezTo>
                  <a:cubicBezTo>
                    <a:pt x="6" y="0"/>
                    <a:pt x="5" y="6"/>
                    <a:pt x="3" y="13"/>
                  </a:cubicBezTo>
                  <a:cubicBezTo>
                    <a:pt x="1" y="20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1" name="Freeform 102">
              <a:extLst>
                <a:ext uri="{FF2B5EF4-FFF2-40B4-BE49-F238E27FC236}">
                  <a16:creationId xmlns:a16="http://schemas.microsoft.com/office/drawing/2014/main" id="{8E0896AC-DF80-44AF-8FBE-3AC87A791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8" y="3762"/>
              <a:ext cx="62" cy="107"/>
            </a:xfrm>
            <a:custGeom>
              <a:avLst/>
              <a:gdLst>
                <a:gd name="T0" fmla="*/ 25 w 26"/>
                <a:gd name="T1" fmla="*/ 29 h 45"/>
                <a:gd name="T2" fmla="*/ 20 w 26"/>
                <a:gd name="T3" fmla="*/ 29 h 45"/>
                <a:gd name="T4" fmla="*/ 7 w 26"/>
                <a:gd name="T5" fmla="*/ 31 h 45"/>
                <a:gd name="T6" fmla="*/ 3 w 26"/>
                <a:gd name="T7" fmla="*/ 34 h 45"/>
                <a:gd name="T8" fmla="*/ 0 w 26"/>
                <a:gd name="T9" fmla="*/ 38 h 45"/>
                <a:gd name="T10" fmla="*/ 9 w 26"/>
                <a:gd name="T11" fmla="*/ 44 h 45"/>
                <a:gd name="T12" fmla="*/ 18 w 26"/>
                <a:gd name="T13" fmla="*/ 37 h 45"/>
                <a:gd name="T14" fmla="*/ 24 w 26"/>
                <a:gd name="T15" fmla="*/ 26 h 45"/>
                <a:gd name="T16" fmla="*/ 20 w 26"/>
                <a:gd name="T17" fmla="*/ 2 h 45"/>
                <a:gd name="T18" fmla="*/ 17 w 26"/>
                <a:gd name="T19" fmla="*/ 0 h 45"/>
                <a:gd name="T20" fmla="*/ 14 w 26"/>
                <a:gd name="T21" fmla="*/ 1 h 45"/>
                <a:gd name="T22" fmla="*/ 11 w 26"/>
                <a:gd name="T23" fmla="*/ 6 h 45"/>
                <a:gd name="T24" fmla="*/ 12 w 26"/>
                <a:gd name="T25" fmla="*/ 16 h 45"/>
                <a:gd name="T26" fmla="*/ 18 w 26"/>
                <a:gd name="T27" fmla="*/ 27 h 45"/>
                <a:gd name="T28" fmla="*/ 21 w 26"/>
                <a:gd name="T29" fmla="*/ 30 h 45"/>
                <a:gd name="T30" fmla="*/ 22 w 26"/>
                <a:gd name="T31" fmla="*/ 31 h 45"/>
                <a:gd name="T32" fmla="*/ 19 w 26"/>
                <a:gd name="T33" fmla="*/ 27 h 45"/>
                <a:gd name="T34" fmla="*/ 13 w 26"/>
                <a:gd name="T35" fmla="*/ 15 h 45"/>
                <a:gd name="T36" fmla="*/ 13 w 26"/>
                <a:gd name="T37" fmla="*/ 6 h 45"/>
                <a:gd name="T38" fmla="*/ 15 w 26"/>
                <a:gd name="T39" fmla="*/ 2 h 45"/>
                <a:gd name="T40" fmla="*/ 19 w 26"/>
                <a:gd name="T41" fmla="*/ 3 h 45"/>
                <a:gd name="T42" fmla="*/ 22 w 26"/>
                <a:gd name="T43" fmla="*/ 25 h 45"/>
                <a:gd name="T44" fmla="*/ 17 w 26"/>
                <a:gd name="T45" fmla="*/ 36 h 45"/>
                <a:gd name="T46" fmla="*/ 8 w 26"/>
                <a:gd name="T47" fmla="*/ 43 h 45"/>
                <a:gd name="T48" fmla="*/ 1 w 26"/>
                <a:gd name="T49" fmla="*/ 38 h 45"/>
                <a:gd name="T50" fmla="*/ 3 w 26"/>
                <a:gd name="T51" fmla="*/ 35 h 45"/>
                <a:gd name="T52" fmla="*/ 7 w 26"/>
                <a:gd name="T53" fmla="*/ 33 h 45"/>
                <a:gd name="T54" fmla="*/ 20 w 26"/>
                <a:gd name="T55" fmla="*/ 30 h 45"/>
                <a:gd name="T56" fmla="*/ 25 w 26"/>
                <a:gd name="T57" fmla="*/ 2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5">
                  <a:moveTo>
                    <a:pt x="25" y="29"/>
                  </a:moveTo>
                  <a:cubicBezTo>
                    <a:pt x="25" y="29"/>
                    <a:pt x="23" y="29"/>
                    <a:pt x="20" y="29"/>
                  </a:cubicBezTo>
                  <a:cubicBezTo>
                    <a:pt x="17" y="29"/>
                    <a:pt x="12" y="29"/>
                    <a:pt x="7" y="31"/>
                  </a:cubicBezTo>
                  <a:cubicBezTo>
                    <a:pt x="5" y="32"/>
                    <a:pt x="4" y="33"/>
                    <a:pt x="3" y="34"/>
                  </a:cubicBezTo>
                  <a:cubicBezTo>
                    <a:pt x="1" y="35"/>
                    <a:pt x="0" y="36"/>
                    <a:pt x="0" y="38"/>
                  </a:cubicBezTo>
                  <a:cubicBezTo>
                    <a:pt x="0" y="42"/>
                    <a:pt x="4" y="45"/>
                    <a:pt x="9" y="44"/>
                  </a:cubicBezTo>
                  <a:cubicBezTo>
                    <a:pt x="13" y="44"/>
                    <a:pt x="16" y="41"/>
                    <a:pt x="18" y="37"/>
                  </a:cubicBezTo>
                  <a:cubicBezTo>
                    <a:pt x="21" y="34"/>
                    <a:pt x="23" y="30"/>
                    <a:pt x="24" y="26"/>
                  </a:cubicBezTo>
                  <a:cubicBezTo>
                    <a:pt x="26" y="17"/>
                    <a:pt x="24" y="8"/>
                    <a:pt x="20" y="2"/>
                  </a:cubicBezTo>
                  <a:cubicBezTo>
                    <a:pt x="19" y="1"/>
                    <a:pt x="18" y="0"/>
                    <a:pt x="17" y="0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12" y="2"/>
                    <a:pt x="12" y="4"/>
                    <a:pt x="11" y="6"/>
                  </a:cubicBezTo>
                  <a:cubicBezTo>
                    <a:pt x="11" y="9"/>
                    <a:pt x="11" y="13"/>
                    <a:pt x="12" y="16"/>
                  </a:cubicBezTo>
                  <a:cubicBezTo>
                    <a:pt x="13" y="21"/>
                    <a:pt x="16" y="25"/>
                    <a:pt x="18" y="27"/>
                  </a:cubicBezTo>
                  <a:cubicBezTo>
                    <a:pt x="19" y="29"/>
                    <a:pt x="20" y="29"/>
                    <a:pt x="21" y="30"/>
                  </a:cubicBezTo>
                  <a:cubicBezTo>
                    <a:pt x="22" y="30"/>
                    <a:pt x="22" y="31"/>
                    <a:pt x="22" y="31"/>
                  </a:cubicBezTo>
                  <a:cubicBezTo>
                    <a:pt x="22" y="30"/>
                    <a:pt x="21" y="29"/>
                    <a:pt x="19" y="27"/>
                  </a:cubicBezTo>
                  <a:cubicBezTo>
                    <a:pt x="17" y="25"/>
                    <a:pt x="14" y="21"/>
                    <a:pt x="13" y="15"/>
                  </a:cubicBezTo>
                  <a:cubicBezTo>
                    <a:pt x="13" y="13"/>
                    <a:pt x="12" y="9"/>
                    <a:pt x="13" y="6"/>
                  </a:cubicBezTo>
                  <a:cubicBezTo>
                    <a:pt x="13" y="5"/>
                    <a:pt x="14" y="3"/>
                    <a:pt x="15" y="2"/>
                  </a:cubicBezTo>
                  <a:cubicBezTo>
                    <a:pt x="16" y="1"/>
                    <a:pt x="18" y="1"/>
                    <a:pt x="19" y="3"/>
                  </a:cubicBezTo>
                  <a:cubicBezTo>
                    <a:pt x="23" y="9"/>
                    <a:pt x="24" y="17"/>
                    <a:pt x="22" y="25"/>
                  </a:cubicBezTo>
                  <a:cubicBezTo>
                    <a:pt x="21" y="29"/>
                    <a:pt x="19" y="33"/>
                    <a:pt x="17" y="36"/>
                  </a:cubicBezTo>
                  <a:cubicBezTo>
                    <a:pt x="15" y="39"/>
                    <a:pt x="12" y="42"/>
                    <a:pt x="8" y="43"/>
                  </a:cubicBezTo>
                  <a:cubicBezTo>
                    <a:pt x="5" y="44"/>
                    <a:pt x="1" y="41"/>
                    <a:pt x="1" y="38"/>
                  </a:cubicBezTo>
                  <a:cubicBezTo>
                    <a:pt x="1" y="37"/>
                    <a:pt x="2" y="36"/>
                    <a:pt x="3" y="35"/>
                  </a:cubicBezTo>
                  <a:cubicBezTo>
                    <a:pt x="5" y="34"/>
                    <a:pt x="6" y="33"/>
                    <a:pt x="7" y="33"/>
                  </a:cubicBezTo>
                  <a:cubicBezTo>
                    <a:pt x="12" y="31"/>
                    <a:pt x="17" y="30"/>
                    <a:pt x="20" y="30"/>
                  </a:cubicBezTo>
                  <a:cubicBezTo>
                    <a:pt x="23" y="29"/>
                    <a:pt x="25" y="29"/>
                    <a:pt x="25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2" name="Freeform 103">
              <a:extLst>
                <a:ext uri="{FF2B5EF4-FFF2-40B4-BE49-F238E27FC236}">
                  <a16:creationId xmlns:a16="http://schemas.microsoft.com/office/drawing/2014/main" id="{C6AECB69-26CE-4ECD-8298-1E9AB97BB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" y="3753"/>
              <a:ext cx="465" cy="183"/>
            </a:xfrm>
            <a:custGeom>
              <a:avLst/>
              <a:gdLst>
                <a:gd name="T0" fmla="*/ 0 w 196"/>
                <a:gd name="T1" fmla="*/ 52 h 77"/>
                <a:gd name="T2" fmla="*/ 1 w 196"/>
                <a:gd name="T3" fmla="*/ 52 h 77"/>
                <a:gd name="T4" fmla="*/ 4 w 196"/>
                <a:gd name="T5" fmla="*/ 53 h 77"/>
                <a:gd name="T6" fmla="*/ 15 w 196"/>
                <a:gd name="T7" fmla="*/ 56 h 77"/>
                <a:gd name="T8" fmla="*/ 55 w 196"/>
                <a:gd name="T9" fmla="*/ 64 h 77"/>
                <a:gd name="T10" fmla="*/ 116 w 196"/>
                <a:gd name="T11" fmla="*/ 74 h 77"/>
                <a:gd name="T12" fmla="*/ 152 w 196"/>
                <a:gd name="T13" fmla="*/ 76 h 77"/>
                <a:gd name="T14" fmla="*/ 172 w 196"/>
                <a:gd name="T15" fmla="*/ 72 h 77"/>
                <a:gd name="T16" fmla="*/ 181 w 196"/>
                <a:gd name="T17" fmla="*/ 68 h 77"/>
                <a:gd name="T18" fmla="*/ 189 w 196"/>
                <a:gd name="T19" fmla="*/ 62 h 77"/>
                <a:gd name="T20" fmla="*/ 189 w 196"/>
                <a:gd name="T21" fmla="*/ 62 h 77"/>
                <a:gd name="T22" fmla="*/ 192 w 196"/>
                <a:gd name="T23" fmla="*/ 58 h 77"/>
                <a:gd name="T24" fmla="*/ 194 w 196"/>
                <a:gd name="T25" fmla="*/ 38 h 77"/>
                <a:gd name="T26" fmla="*/ 182 w 196"/>
                <a:gd name="T27" fmla="*/ 22 h 77"/>
                <a:gd name="T28" fmla="*/ 164 w 196"/>
                <a:gd name="T29" fmla="*/ 13 h 77"/>
                <a:gd name="T30" fmla="*/ 156 w 196"/>
                <a:gd name="T31" fmla="*/ 11 h 77"/>
                <a:gd name="T32" fmla="*/ 147 w 196"/>
                <a:gd name="T33" fmla="*/ 9 h 77"/>
                <a:gd name="T34" fmla="*/ 83 w 196"/>
                <a:gd name="T35" fmla="*/ 7 h 77"/>
                <a:gd name="T36" fmla="*/ 59 w 196"/>
                <a:gd name="T37" fmla="*/ 7 h 77"/>
                <a:gd name="T38" fmla="*/ 41 w 196"/>
                <a:gd name="T39" fmla="*/ 4 h 77"/>
                <a:gd name="T40" fmla="*/ 35 w 196"/>
                <a:gd name="T41" fmla="*/ 3 h 77"/>
                <a:gd name="T42" fmla="*/ 30 w 196"/>
                <a:gd name="T43" fmla="*/ 2 h 77"/>
                <a:gd name="T44" fmla="*/ 27 w 196"/>
                <a:gd name="T45" fmla="*/ 1 h 77"/>
                <a:gd name="T46" fmla="*/ 26 w 196"/>
                <a:gd name="T47" fmla="*/ 1 h 77"/>
                <a:gd name="T48" fmla="*/ 27 w 196"/>
                <a:gd name="T49" fmla="*/ 1 h 77"/>
                <a:gd name="T50" fmla="*/ 30 w 196"/>
                <a:gd name="T51" fmla="*/ 2 h 77"/>
                <a:gd name="T52" fmla="*/ 35 w 196"/>
                <a:gd name="T53" fmla="*/ 3 h 77"/>
                <a:gd name="T54" fmla="*/ 41 w 196"/>
                <a:gd name="T55" fmla="*/ 5 h 77"/>
                <a:gd name="T56" fmla="*/ 59 w 196"/>
                <a:gd name="T57" fmla="*/ 8 h 77"/>
                <a:gd name="T58" fmla="*/ 83 w 196"/>
                <a:gd name="T59" fmla="*/ 8 h 77"/>
                <a:gd name="T60" fmla="*/ 98 w 196"/>
                <a:gd name="T61" fmla="*/ 8 h 77"/>
                <a:gd name="T62" fmla="*/ 146 w 196"/>
                <a:gd name="T63" fmla="*/ 11 h 77"/>
                <a:gd name="T64" fmla="*/ 155 w 196"/>
                <a:gd name="T65" fmla="*/ 12 h 77"/>
                <a:gd name="T66" fmla="*/ 164 w 196"/>
                <a:gd name="T67" fmla="*/ 15 h 77"/>
                <a:gd name="T68" fmla="*/ 181 w 196"/>
                <a:gd name="T69" fmla="*/ 23 h 77"/>
                <a:gd name="T70" fmla="*/ 192 w 196"/>
                <a:gd name="T71" fmla="*/ 38 h 77"/>
                <a:gd name="T72" fmla="*/ 190 w 196"/>
                <a:gd name="T73" fmla="*/ 57 h 77"/>
                <a:gd name="T74" fmla="*/ 187 w 196"/>
                <a:gd name="T75" fmla="*/ 61 h 77"/>
                <a:gd name="T76" fmla="*/ 187 w 196"/>
                <a:gd name="T77" fmla="*/ 61 h 77"/>
                <a:gd name="T78" fmla="*/ 187 w 196"/>
                <a:gd name="T79" fmla="*/ 61 h 77"/>
                <a:gd name="T80" fmla="*/ 180 w 196"/>
                <a:gd name="T81" fmla="*/ 67 h 77"/>
                <a:gd name="T82" fmla="*/ 171 w 196"/>
                <a:gd name="T83" fmla="*/ 71 h 77"/>
                <a:gd name="T84" fmla="*/ 152 w 196"/>
                <a:gd name="T85" fmla="*/ 74 h 77"/>
                <a:gd name="T86" fmla="*/ 116 w 196"/>
                <a:gd name="T87" fmla="*/ 73 h 77"/>
                <a:gd name="T88" fmla="*/ 55 w 196"/>
                <a:gd name="T89" fmla="*/ 63 h 77"/>
                <a:gd name="T90" fmla="*/ 15 w 196"/>
                <a:gd name="T91" fmla="*/ 55 h 77"/>
                <a:gd name="T92" fmla="*/ 4 w 196"/>
                <a:gd name="T93" fmla="*/ 53 h 77"/>
                <a:gd name="T94" fmla="*/ 1 w 196"/>
                <a:gd name="T95" fmla="*/ 52 h 77"/>
                <a:gd name="T96" fmla="*/ 0 w 196"/>
                <a:gd name="T97" fmla="*/ 5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6" h="77">
                  <a:moveTo>
                    <a:pt x="0" y="52"/>
                  </a:moveTo>
                  <a:cubicBezTo>
                    <a:pt x="0" y="52"/>
                    <a:pt x="0" y="52"/>
                    <a:pt x="1" y="52"/>
                  </a:cubicBezTo>
                  <a:cubicBezTo>
                    <a:pt x="2" y="53"/>
                    <a:pt x="3" y="53"/>
                    <a:pt x="4" y="53"/>
                  </a:cubicBezTo>
                  <a:cubicBezTo>
                    <a:pt x="6" y="54"/>
                    <a:pt x="10" y="55"/>
                    <a:pt x="15" y="56"/>
                  </a:cubicBezTo>
                  <a:cubicBezTo>
                    <a:pt x="24" y="58"/>
                    <a:pt x="38" y="61"/>
                    <a:pt x="55" y="64"/>
                  </a:cubicBezTo>
                  <a:cubicBezTo>
                    <a:pt x="72" y="67"/>
                    <a:pt x="93" y="71"/>
                    <a:pt x="116" y="74"/>
                  </a:cubicBezTo>
                  <a:cubicBezTo>
                    <a:pt x="127" y="76"/>
                    <a:pt x="140" y="77"/>
                    <a:pt x="152" y="76"/>
                  </a:cubicBezTo>
                  <a:cubicBezTo>
                    <a:pt x="159" y="76"/>
                    <a:pt x="165" y="74"/>
                    <a:pt x="172" y="72"/>
                  </a:cubicBezTo>
                  <a:cubicBezTo>
                    <a:pt x="175" y="71"/>
                    <a:pt x="178" y="70"/>
                    <a:pt x="181" y="68"/>
                  </a:cubicBezTo>
                  <a:cubicBezTo>
                    <a:pt x="184" y="67"/>
                    <a:pt x="186" y="65"/>
                    <a:pt x="189" y="62"/>
                  </a:cubicBezTo>
                  <a:cubicBezTo>
                    <a:pt x="189" y="62"/>
                    <a:pt x="189" y="62"/>
                    <a:pt x="189" y="62"/>
                  </a:cubicBezTo>
                  <a:cubicBezTo>
                    <a:pt x="190" y="61"/>
                    <a:pt x="191" y="59"/>
                    <a:pt x="192" y="58"/>
                  </a:cubicBezTo>
                  <a:cubicBezTo>
                    <a:pt x="196" y="52"/>
                    <a:pt x="196" y="44"/>
                    <a:pt x="194" y="38"/>
                  </a:cubicBezTo>
                  <a:cubicBezTo>
                    <a:pt x="192" y="31"/>
                    <a:pt x="187" y="26"/>
                    <a:pt x="182" y="22"/>
                  </a:cubicBezTo>
                  <a:cubicBezTo>
                    <a:pt x="176" y="18"/>
                    <a:pt x="170" y="15"/>
                    <a:pt x="164" y="13"/>
                  </a:cubicBezTo>
                  <a:cubicBezTo>
                    <a:pt x="161" y="12"/>
                    <a:pt x="159" y="11"/>
                    <a:pt x="156" y="11"/>
                  </a:cubicBezTo>
                  <a:cubicBezTo>
                    <a:pt x="153" y="10"/>
                    <a:pt x="150" y="9"/>
                    <a:pt x="147" y="9"/>
                  </a:cubicBezTo>
                  <a:cubicBezTo>
                    <a:pt x="123" y="5"/>
                    <a:pt x="101" y="7"/>
                    <a:pt x="83" y="7"/>
                  </a:cubicBezTo>
                  <a:cubicBezTo>
                    <a:pt x="75" y="7"/>
                    <a:pt x="66" y="7"/>
                    <a:pt x="59" y="7"/>
                  </a:cubicBezTo>
                  <a:cubicBezTo>
                    <a:pt x="52" y="6"/>
                    <a:pt x="46" y="5"/>
                    <a:pt x="41" y="4"/>
                  </a:cubicBezTo>
                  <a:cubicBezTo>
                    <a:pt x="39" y="4"/>
                    <a:pt x="37" y="3"/>
                    <a:pt x="35" y="3"/>
                  </a:cubicBezTo>
                  <a:cubicBezTo>
                    <a:pt x="33" y="2"/>
                    <a:pt x="31" y="2"/>
                    <a:pt x="30" y="2"/>
                  </a:cubicBezTo>
                  <a:cubicBezTo>
                    <a:pt x="29" y="1"/>
                    <a:pt x="28" y="1"/>
                    <a:pt x="27" y="1"/>
                  </a:cubicBezTo>
                  <a:cubicBezTo>
                    <a:pt x="26" y="1"/>
                    <a:pt x="26" y="0"/>
                    <a:pt x="26" y="1"/>
                  </a:cubicBezTo>
                  <a:cubicBezTo>
                    <a:pt x="26" y="1"/>
                    <a:pt x="26" y="1"/>
                    <a:pt x="27" y="1"/>
                  </a:cubicBezTo>
                  <a:cubicBezTo>
                    <a:pt x="28" y="1"/>
                    <a:pt x="29" y="1"/>
                    <a:pt x="30" y="2"/>
                  </a:cubicBezTo>
                  <a:cubicBezTo>
                    <a:pt x="31" y="2"/>
                    <a:pt x="33" y="3"/>
                    <a:pt x="35" y="3"/>
                  </a:cubicBezTo>
                  <a:cubicBezTo>
                    <a:pt x="36" y="4"/>
                    <a:pt x="39" y="4"/>
                    <a:pt x="41" y="5"/>
                  </a:cubicBezTo>
                  <a:cubicBezTo>
                    <a:pt x="46" y="6"/>
                    <a:pt x="52" y="7"/>
                    <a:pt x="59" y="8"/>
                  </a:cubicBezTo>
                  <a:cubicBezTo>
                    <a:pt x="66" y="8"/>
                    <a:pt x="74" y="8"/>
                    <a:pt x="83" y="8"/>
                  </a:cubicBezTo>
                  <a:cubicBezTo>
                    <a:pt x="88" y="8"/>
                    <a:pt x="93" y="8"/>
                    <a:pt x="98" y="8"/>
                  </a:cubicBezTo>
                  <a:cubicBezTo>
                    <a:pt x="113" y="8"/>
                    <a:pt x="129" y="8"/>
                    <a:pt x="146" y="11"/>
                  </a:cubicBezTo>
                  <a:cubicBezTo>
                    <a:pt x="149" y="11"/>
                    <a:pt x="152" y="12"/>
                    <a:pt x="155" y="12"/>
                  </a:cubicBezTo>
                  <a:cubicBezTo>
                    <a:pt x="158" y="13"/>
                    <a:pt x="161" y="14"/>
                    <a:pt x="164" y="15"/>
                  </a:cubicBezTo>
                  <a:cubicBezTo>
                    <a:pt x="170" y="17"/>
                    <a:pt x="176" y="19"/>
                    <a:pt x="181" y="23"/>
                  </a:cubicBezTo>
                  <a:cubicBezTo>
                    <a:pt x="186" y="27"/>
                    <a:pt x="190" y="32"/>
                    <a:pt x="192" y="38"/>
                  </a:cubicBezTo>
                  <a:cubicBezTo>
                    <a:pt x="194" y="44"/>
                    <a:pt x="194" y="51"/>
                    <a:pt x="190" y="57"/>
                  </a:cubicBezTo>
                  <a:cubicBezTo>
                    <a:pt x="190" y="58"/>
                    <a:pt x="188" y="60"/>
                    <a:pt x="187" y="61"/>
                  </a:cubicBezTo>
                  <a:cubicBezTo>
                    <a:pt x="187" y="61"/>
                    <a:pt x="187" y="61"/>
                    <a:pt x="187" y="61"/>
                  </a:cubicBezTo>
                  <a:cubicBezTo>
                    <a:pt x="187" y="61"/>
                    <a:pt x="187" y="61"/>
                    <a:pt x="187" y="61"/>
                  </a:cubicBezTo>
                  <a:cubicBezTo>
                    <a:pt x="185" y="63"/>
                    <a:pt x="183" y="65"/>
                    <a:pt x="180" y="67"/>
                  </a:cubicBezTo>
                  <a:cubicBezTo>
                    <a:pt x="177" y="68"/>
                    <a:pt x="174" y="70"/>
                    <a:pt x="171" y="71"/>
                  </a:cubicBezTo>
                  <a:cubicBezTo>
                    <a:pt x="165" y="73"/>
                    <a:pt x="158" y="74"/>
                    <a:pt x="152" y="74"/>
                  </a:cubicBezTo>
                  <a:cubicBezTo>
                    <a:pt x="140" y="75"/>
                    <a:pt x="128" y="74"/>
                    <a:pt x="116" y="73"/>
                  </a:cubicBezTo>
                  <a:cubicBezTo>
                    <a:pt x="93" y="69"/>
                    <a:pt x="73" y="66"/>
                    <a:pt x="55" y="63"/>
                  </a:cubicBezTo>
                  <a:cubicBezTo>
                    <a:pt x="38" y="60"/>
                    <a:pt x="24" y="57"/>
                    <a:pt x="15" y="55"/>
                  </a:cubicBezTo>
                  <a:cubicBezTo>
                    <a:pt x="10" y="54"/>
                    <a:pt x="6" y="53"/>
                    <a:pt x="4" y="53"/>
                  </a:cubicBezTo>
                  <a:cubicBezTo>
                    <a:pt x="3" y="53"/>
                    <a:pt x="2" y="52"/>
                    <a:pt x="1" y="52"/>
                  </a:cubicBezTo>
                  <a:cubicBezTo>
                    <a:pt x="0" y="52"/>
                    <a:pt x="0" y="52"/>
                    <a:pt x="0" y="5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3" name="Freeform 104">
              <a:extLst>
                <a:ext uri="{FF2B5EF4-FFF2-40B4-BE49-F238E27FC236}">
                  <a16:creationId xmlns:a16="http://schemas.microsoft.com/office/drawing/2014/main" id="{B39A2CBF-D2D7-4E75-8082-DB70341E2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" y="3774"/>
              <a:ext cx="22" cy="154"/>
            </a:xfrm>
            <a:custGeom>
              <a:avLst/>
              <a:gdLst>
                <a:gd name="T0" fmla="*/ 0 w 9"/>
                <a:gd name="T1" fmla="*/ 65 h 65"/>
                <a:gd name="T2" fmla="*/ 1 w 9"/>
                <a:gd name="T3" fmla="*/ 56 h 65"/>
                <a:gd name="T4" fmla="*/ 3 w 9"/>
                <a:gd name="T5" fmla="*/ 33 h 65"/>
                <a:gd name="T6" fmla="*/ 7 w 9"/>
                <a:gd name="T7" fmla="*/ 10 h 65"/>
                <a:gd name="T8" fmla="*/ 9 w 9"/>
                <a:gd name="T9" fmla="*/ 0 h 65"/>
                <a:gd name="T10" fmla="*/ 6 w 9"/>
                <a:gd name="T11" fmla="*/ 9 h 65"/>
                <a:gd name="T12" fmla="*/ 2 w 9"/>
                <a:gd name="T13" fmla="*/ 32 h 65"/>
                <a:gd name="T14" fmla="*/ 0 w 9"/>
                <a:gd name="T15" fmla="*/ 56 h 65"/>
                <a:gd name="T16" fmla="*/ 0 w 9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65">
                  <a:moveTo>
                    <a:pt x="0" y="65"/>
                  </a:moveTo>
                  <a:cubicBezTo>
                    <a:pt x="0" y="65"/>
                    <a:pt x="1" y="62"/>
                    <a:pt x="1" y="56"/>
                  </a:cubicBezTo>
                  <a:cubicBezTo>
                    <a:pt x="1" y="50"/>
                    <a:pt x="2" y="42"/>
                    <a:pt x="3" y="33"/>
                  </a:cubicBezTo>
                  <a:cubicBezTo>
                    <a:pt x="5" y="24"/>
                    <a:pt x="6" y="15"/>
                    <a:pt x="7" y="10"/>
                  </a:cubicBezTo>
                  <a:cubicBezTo>
                    <a:pt x="8" y="4"/>
                    <a:pt x="9" y="0"/>
                    <a:pt x="9" y="0"/>
                  </a:cubicBezTo>
                  <a:cubicBezTo>
                    <a:pt x="9" y="0"/>
                    <a:pt x="7" y="3"/>
                    <a:pt x="6" y="9"/>
                  </a:cubicBezTo>
                  <a:cubicBezTo>
                    <a:pt x="5" y="15"/>
                    <a:pt x="3" y="23"/>
                    <a:pt x="2" y="32"/>
                  </a:cubicBezTo>
                  <a:cubicBezTo>
                    <a:pt x="0" y="41"/>
                    <a:pt x="0" y="50"/>
                    <a:pt x="0" y="56"/>
                  </a:cubicBezTo>
                  <a:cubicBezTo>
                    <a:pt x="0" y="62"/>
                    <a:pt x="0" y="65"/>
                    <a:pt x="0" y="6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4" name="Freeform 105">
              <a:extLst>
                <a:ext uri="{FF2B5EF4-FFF2-40B4-BE49-F238E27FC236}">
                  <a16:creationId xmlns:a16="http://schemas.microsoft.com/office/drawing/2014/main" id="{8D719FFD-2FDC-4F84-90F4-DB2C2F3BC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" y="3753"/>
              <a:ext cx="19" cy="4"/>
            </a:xfrm>
            <a:custGeom>
              <a:avLst/>
              <a:gdLst>
                <a:gd name="T0" fmla="*/ 1 w 8"/>
                <a:gd name="T1" fmla="*/ 0 h 2"/>
                <a:gd name="T2" fmla="*/ 0 w 8"/>
                <a:gd name="T3" fmla="*/ 0 h 2"/>
                <a:gd name="T4" fmla="*/ 8 w 8"/>
                <a:gd name="T5" fmla="*/ 2 h 2"/>
                <a:gd name="T6" fmla="*/ 8 w 8"/>
                <a:gd name="T7" fmla="*/ 2 h 2"/>
                <a:gd name="T8" fmla="*/ 1 w 8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5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868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5" name="Freeform 106">
              <a:extLst>
                <a:ext uri="{FF2B5EF4-FFF2-40B4-BE49-F238E27FC236}">
                  <a16:creationId xmlns:a16="http://schemas.microsoft.com/office/drawing/2014/main" id="{F657A59A-43D6-4BBE-B610-E12B82396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3890"/>
              <a:ext cx="45" cy="10"/>
            </a:xfrm>
            <a:custGeom>
              <a:avLst/>
              <a:gdLst>
                <a:gd name="T0" fmla="*/ 0 w 19"/>
                <a:gd name="T1" fmla="*/ 0 h 4"/>
                <a:gd name="T2" fmla="*/ 19 w 19"/>
                <a:gd name="T3" fmla="*/ 4 h 4"/>
                <a:gd name="T4" fmla="*/ 19 w 19"/>
                <a:gd name="T5" fmla="*/ 4 h 4"/>
                <a:gd name="T6" fmla="*/ 0 w 1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4">
                  <a:moveTo>
                    <a:pt x="0" y="0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7" y="2"/>
                    <a:pt x="0" y="0"/>
                    <a:pt x="0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6" name="Freeform 107">
              <a:extLst>
                <a:ext uri="{FF2B5EF4-FFF2-40B4-BE49-F238E27FC236}">
                  <a16:creationId xmlns:a16="http://schemas.microsoft.com/office/drawing/2014/main" id="{9B2DA9BF-7EF9-4339-A82E-79B6326A1F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8" y="3753"/>
              <a:ext cx="102" cy="147"/>
            </a:xfrm>
            <a:custGeom>
              <a:avLst/>
              <a:gdLst>
                <a:gd name="T0" fmla="*/ 4 w 43"/>
                <a:gd name="T1" fmla="*/ 52 h 62"/>
                <a:gd name="T2" fmla="*/ 0 w 43"/>
                <a:gd name="T3" fmla="*/ 58 h 62"/>
                <a:gd name="T4" fmla="*/ 19 w 43"/>
                <a:gd name="T5" fmla="*/ 62 h 62"/>
                <a:gd name="T6" fmla="*/ 21 w 43"/>
                <a:gd name="T7" fmla="*/ 56 h 62"/>
                <a:gd name="T8" fmla="*/ 19 w 43"/>
                <a:gd name="T9" fmla="*/ 56 h 62"/>
                <a:gd name="T10" fmla="*/ 8 w 43"/>
                <a:gd name="T11" fmla="*/ 53 h 62"/>
                <a:gd name="T12" fmla="*/ 5 w 43"/>
                <a:gd name="T13" fmla="*/ 52 h 62"/>
                <a:gd name="T14" fmla="*/ 4 w 43"/>
                <a:gd name="T15" fmla="*/ 52 h 62"/>
                <a:gd name="T16" fmla="*/ 34 w 43"/>
                <a:gd name="T17" fmla="*/ 2 h 62"/>
                <a:gd name="T18" fmla="*/ 4 w 43"/>
                <a:gd name="T19" fmla="*/ 52 h 62"/>
                <a:gd name="T20" fmla="*/ 4 w 43"/>
                <a:gd name="T21" fmla="*/ 52 h 62"/>
                <a:gd name="T22" fmla="*/ 5 w 43"/>
                <a:gd name="T23" fmla="*/ 52 h 62"/>
                <a:gd name="T24" fmla="*/ 8 w 43"/>
                <a:gd name="T25" fmla="*/ 53 h 62"/>
                <a:gd name="T26" fmla="*/ 19 w 43"/>
                <a:gd name="T27" fmla="*/ 55 h 62"/>
                <a:gd name="T28" fmla="*/ 21 w 43"/>
                <a:gd name="T29" fmla="*/ 55 h 62"/>
                <a:gd name="T30" fmla="*/ 42 w 43"/>
                <a:gd name="T31" fmla="*/ 4 h 62"/>
                <a:gd name="T32" fmla="*/ 39 w 43"/>
                <a:gd name="T33" fmla="*/ 3 h 62"/>
                <a:gd name="T34" fmla="*/ 34 w 43"/>
                <a:gd name="T35" fmla="*/ 2 h 62"/>
                <a:gd name="T36" fmla="*/ 35 w 43"/>
                <a:gd name="T37" fmla="*/ 0 h 62"/>
                <a:gd name="T38" fmla="*/ 35 w 43"/>
                <a:gd name="T39" fmla="*/ 2 h 62"/>
                <a:gd name="T40" fmla="*/ 39 w 43"/>
                <a:gd name="T41" fmla="*/ 3 h 62"/>
                <a:gd name="T42" fmla="*/ 42 w 43"/>
                <a:gd name="T43" fmla="*/ 4 h 62"/>
                <a:gd name="T44" fmla="*/ 43 w 43"/>
                <a:gd name="T45" fmla="*/ 2 h 62"/>
                <a:gd name="T46" fmla="*/ 35 w 43"/>
                <a:gd name="T4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62">
                  <a:moveTo>
                    <a:pt x="4" y="52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7" y="60"/>
                    <a:pt x="19" y="62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0" y="56"/>
                    <a:pt x="19" y="56"/>
                    <a:pt x="19" y="56"/>
                  </a:cubicBezTo>
                  <a:cubicBezTo>
                    <a:pt x="14" y="55"/>
                    <a:pt x="10" y="54"/>
                    <a:pt x="8" y="53"/>
                  </a:cubicBezTo>
                  <a:cubicBezTo>
                    <a:pt x="7" y="53"/>
                    <a:pt x="6" y="53"/>
                    <a:pt x="5" y="52"/>
                  </a:cubicBezTo>
                  <a:cubicBezTo>
                    <a:pt x="4" y="52"/>
                    <a:pt x="4" y="52"/>
                    <a:pt x="4" y="52"/>
                  </a:cubicBezTo>
                  <a:moveTo>
                    <a:pt x="34" y="2"/>
                  </a:move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2"/>
                    <a:pt x="5" y="52"/>
                  </a:cubicBezTo>
                  <a:cubicBezTo>
                    <a:pt x="6" y="52"/>
                    <a:pt x="7" y="53"/>
                    <a:pt x="8" y="53"/>
                  </a:cubicBezTo>
                  <a:cubicBezTo>
                    <a:pt x="10" y="53"/>
                    <a:pt x="14" y="54"/>
                    <a:pt x="19" y="55"/>
                  </a:cubicBezTo>
                  <a:cubicBezTo>
                    <a:pt x="20" y="55"/>
                    <a:pt x="20" y="55"/>
                    <a:pt x="21" y="55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1" y="4"/>
                    <a:pt x="40" y="4"/>
                    <a:pt x="39" y="3"/>
                  </a:cubicBezTo>
                  <a:cubicBezTo>
                    <a:pt x="37" y="3"/>
                    <a:pt x="36" y="2"/>
                    <a:pt x="34" y="2"/>
                  </a:cubicBezTo>
                  <a:moveTo>
                    <a:pt x="35" y="0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6" y="2"/>
                    <a:pt x="37" y="2"/>
                    <a:pt x="39" y="3"/>
                  </a:cubicBezTo>
                  <a:cubicBezTo>
                    <a:pt x="40" y="3"/>
                    <a:pt x="41" y="3"/>
                    <a:pt x="42" y="4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0" y="1"/>
                    <a:pt x="37" y="1"/>
                    <a:pt x="35" y="0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7" name="Freeform 108">
              <a:extLst>
                <a:ext uri="{FF2B5EF4-FFF2-40B4-BE49-F238E27FC236}">
                  <a16:creationId xmlns:a16="http://schemas.microsoft.com/office/drawing/2014/main" id="{ACD80299-0165-4FE6-A919-83E581ED35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8" y="3757"/>
              <a:ext cx="90" cy="129"/>
            </a:xfrm>
            <a:custGeom>
              <a:avLst/>
              <a:gdLst>
                <a:gd name="T0" fmla="*/ 0 w 38"/>
                <a:gd name="T1" fmla="*/ 50 h 54"/>
                <a:gd name="T2" fmla="*/ 0 w 38"/>
                <a:gd name="T3" fmla="*/ 50 h 54"/>
                <a:gd name="T4" fmla="*/ 0 w 38"/>
                <a:gd name="T5" fmla="*/ 50 h 54"/>
                <a:gd name="T6" fmla="*/ 1 w 38"/>
                <a:gd name="T7" fmla="*/ 50 h 54"/>
                <a:gd name="T8" fmla="*/ 4 w 38"/>
                <a:gd name="T9" fmla="*/ 51 h 54"/>
                <a:gd name="T10" fmla="*/ 15 w 38"/>
                <a:gd name="T11" fmla="*/ 54 h 54"/>
                <a:gd name="T12" fmla="*/ 17 w 38"/>
                <a:gd name="T13" fmla="*/ 54 h 54"/>
                <a:gd name="T14" fmla="*/ 17 w 38"/>
                <a:gd name="T15" fmla="*/ 53 h 54"/>
                <a:gd name="T16" fmla="*/ 15 w 38"/>
                <a:gd name="T17" fmla="*/ 53 h 54"/>
                <a:gd name="T18" fmla="*/ 4 w 38"/>
                <a:gd name="T19" fmla="*/ 51 h 54"/>
                <a:gd name="T20" fmla="*/ 1 w 38"/>
                <a:gd name="T21" fmla="*/ 50 h 54"/>
                <a:gd name="T22" fmla="*/ 0 w 38"/>
                <a:gd name="T23" fmla="*/ 50 h 54"/>
                <a:gd name="T24" fmla="*/ 31 w 38"/>
                <a:gd name="T25" fmla="*/ 0 h 54"/>
                <a:gd name="T26" fmla="*/ 30 w 38"/>
                <a:gd name="T27" fmla="*/ 0 h 54"/>
                <a:gd name="T28" fmla="*/ 35 w 38"/>
                <a:gd name="T29" fmla="*/ 1 h 54"/>
                <a:gd name="T30" fmla="*/ 38 w 38"/>
                <a:gd name="T31" fmla="*/ 2 h 54"/>
                <a:gd name="T32" fmla="*/ 38 w 38"/>
                <a:gd name="T33" fmla="*/ 2 h 54"/>
                <a:gd name="T34" fmla="*/ 35 w 38"/>
                <a:gd name="T35" fmla="*/ 1 h 54"/>
                <a:gd name="T36" fmla="*/ 31 w 38"/>
                <a:gd name="T3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54">
                  <a:moveTo>
                    <a:pt x="0" y="5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1" y="50"/>
                  </a:cubicBezTo>
                  <a:cubicBezTo>
                    <a:pt x="2" y="51"/>
                    <a:pt x="3" y="51"/>
                    <a:pt x="4" y="51"/>
                  </a:cubicBezTo>
                  <a:cubicBezTo>
                    <a:pt x="6" y="52"/>
                    <a:pt x="10" y="53"/>
                    <a:pt x="15" y="54"/>
                  </a:cubicBezTo>
                  <a:cubicBezTo>
                    <a:pt x="15" y="54"/>
                    <a:pt x="16" y="54"/>
                    <a:pt x="17" y="54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6" y="53"/>
                    <a:pt x="16" y="53"/>
                    <a:pt x="15" y="53"/>
                  </a:cubicBezTo>
                  <a:cubicBezTo>
                    <a:pt x="10" y="52"/>
                    <a:pt x="6" y="51"/>
                    <a:pt x="4" y="51"/>
                  </a:cubicBezTo>
                  <a:cubicBezTo>
                    <a:pt x="3" y="51"/>
                    <a:pt x="2" y="50"/>
                    <a:pt x="1" y="50"/>
                  </a:cubicBezTo>
                  <a:cubicBezTo>
                    <a:pt x="0" y="50"/>
                    <a:pt x="0" y="50"/>
                    <a:pt x="0" y="50"/>
                  </a:cubicBezTo>
                  <a:moveTo>
                    <a:pt x="3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3" y="1"/>
                    <a:pt x="35" y="1"/>
                  </a:cubicBezTo>
                  <a:cubicBezTo>
                    <a:pt x="36" y="2"/>
                    <a:pt x="37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1"/>
                    <a:pt x="36" y="1"/>
                    <a:pt x="35" y="1"/>
                  </a:cubicBezTo>
                  <a:cubicBezTo>
                    <a:pt x="33" y="0"/>
                    <a:pt x="32" y="0"/>
                    <a:pt x="31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8" name="Freeform 109">
              <a:extLst>
                <a:ext uri="{FF2B5EF4-FFF2-40B4-BE49-F238E27FC236}">
                  <a16:creationId xmlns:a16="http://schemas.microsoft.com/office/drawing/2014/main" id="{2C0D5809-48A5-4F9D-92FA-D0F041300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7" y="3121"/>
              <a:ext cx="1142" cy="727"/>
            </a:xfrm>
            <a:custGeom>
              <a:avLst/>
              <a:gdLst>
                <a:gd name="T0" fmla="*/ 0 w 481"/>
                <a:gd name="T1" fmla="*/ 103 h 306"/>
                <a:gd name="T2" fmla="*/ 352 w 481"/>
                <a:gd name="T3" fmla="*/ 7 h 306"/>
                <a:gd name="T4" fmla="*/ 429 w 481"/>
                <a:gd name="T5" fmla="*/ 19 h 306"/>
                <a:gd name="T6" fmla="*/ 431 w 481"/>
                <a:gd name="T7" fmla="*/ 19 h 306"/>
                <a:gd name="T8" fmla="*/ 472 w 481"/>
                <a:gd name="T9" fmla="*/ 121 h 306"/>
                <a:gd name="T10" fmla="*/ 429 w 481"/>
                <a:gd name="T11" fmla="*/ 180 h 306"/>
                <a:gd name="T12" fmla="*/ 219 w 481"/>
                <a:gd name="T13" fmla="*/ 304 h 306"/>
                <a:gd name="T14" fmla="*/ 39 w 481"/>
                <a:gd name="T15" fmla="*/ 298 h 306"/>
                <a:gd name="T16" fmla="*/ 248 w 481"/>
                <a:gd name="T17" fmla="*/ 147 h 306"/>
                <a:gd name="T18" fmla="*/ 149 w 481"/>
                <a:gd name="T19" fmla="*/ 211 h 306"/>
                <a:gd name="T20" fmla="*/ 0 w 481"/>
                <a:gd name="T21" fmla="*/ 10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1" h="306">
                  <a:moveTo>
                    <a:pt x="0" y="103"/>
                  </a:moveTo>
                  <a:cubicBezTo>
                    <a:pt x="4" y="104"/>
                    <a:pt x="252" y="35"/>
                    <a:pt x="352" y="7"/>
                  </a:cubicBezTo>
                  <a:cubicBezTo>
                    <a:pt x="378" y="0"/>
                    <a:pt x="407" y="4"/>
                    <a:pt x="429" y="19"/>
                  </a:cubicBezTo>
                  <a:cubicBezTo>
                    <a:pt x="431" y="19"/>
                    <a:pt x="431" y="19"/>
                    <a:pt x="431" y="19"/>
                  </a:cubicBezTo>
                  <a:cubicBezTo>
                    <a:pt x="464" y="41"/>
                    <a:pt x="481" y="82"/>
                    <a:pt x="472" y="121"/>
                  </a:cubicBezTo>
                  <a:cubicBezTo>
                    <a:pt x="466" y="146"/>
                    <a:pt x="450" y="167"/>
                    <a:pt x="429" y="180"/>
                  </a:cubicBezTo>
                  <a:cubicBezTo>
                    <a:pt x="363" y="221"/>
                    <a:pt x="223" y="306"/>
                    <a:pt x="219" y="304"/>
                  </a:cubicBezTo>
                  <a:cubicBezTo>
                    <a:pt x="213" y="302"/>
                    <a:pt x="39" y="298"/>
                    <a:pt x="39" y="298"/>
                  </a:cubicBezTo>
                  <a:cubicBezTo>
                    <a:pt x="248" y="147"/>
                    <a:pt x="248" y="147"/>
                    <a:pt x="248" y="147"/>
                  </a:cubicBezTo>
                  <a:cubicBezTo>
                    <a:pt x="149" y="211"/>
                    <a:pt x="149" y="211"/>
                    <a:pt x="149" y="211"/>
                  </a:cubicBezTo>
                  <a:cubicBezTo>
                    <a:pt x="0" y="103"/>
                    <a:pt x="0" y="103"/>
                    <a:pt x="0" y="10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9" name="Freeform 110">
              <a:extLst>
                <a:ext uri="{FF2B5EF4-FFF2-40B4-BE49-F238E27FC236}">
                  <a16:creationId xmlns:a16="http://schemas.microsoft.com/office/drawing/2014/main" id="{6D7660B0-110E-40AA-998D-C33883CE7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3377"/>
              <a:ext cx="549" cy="559"/>
            </a:xfrm>
            <a:custGeom>
              <a:avLst/>
              <a:gdLst>
                <a:gd name="T0" fmla="*/ 205 w 231"/>
                <a:gd name="T1" fmla="*/ 71 h 235"/>
                <a:gd name="T2" fmla="*/ 231 w 231"/>
                <a:gd name="T3" fmla="*/ 156 h 235"/>
                <a:gd name="T4" fmla="*/ 228 w 231"/>
                <a:gd name="T5" fmla="*/ 182 h 235"/>
                <a:gd name="T6" fmla="*/ 51 w 231"/>
                <a:gd name="T7" fmla="*/ 194 h 235"/>
                <a:gd name="T8" fmla="*/ 0 w 231"/>
                <a:gd name="T9" fmla="*/ 89 h 235"/>
                <a:gd name="T10" fmla="*/ 1 w 231"/>
                <a:gd name="T11" fmla="*/ 0 h 235"/>
                <a:gd name="T12" fmla="*/ 205 w 231"/>
                <a:gd name="T13" fmla="*/ 7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235">
                  <a:moveTo>
                    <a:pt x="205" y="71"/>
                  </a:moveTo>
                  <a:cubicBezTo>
                    <a:pt x="231" y="156"/>
                    <a:pt x="231" y="156"/>
                    <a:pt x="231" y="156"/>
                  </a:cubicBezTo>
                  <a:cubicBezTo>
                    <a:pt x="228" y="182"/>
                    <a:pt x="228" y="182"/>
                    <a:pt x="228" y="182"/>
                  </a:cubicBezTo>
                  <a:cubicBezTo>
                    <a:pt x="180" y="230"/>
                    <a:pt x="105" y="235"/>
                    <a:pt x="51" y="194"/>
                  </a:cubicBezTo>
                  <a:cubicBezTo>
                    <a:pt x="19" y="169"/>
                    <a:pt x="0" y="130"/>
                    <a:pt x="0" y="8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05" y="71"/>
                    <a:pt x="205" y="71"/>
                    <a:pt x="205" y="7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0" name="Freeform 111">
              <a:extLst>
                <a:ext uri="{FF2B5EF4-FFF2-40B4-BE49-F238E27FC236}">
                  <a16:creationId xmlns:a16="http://schemas.microsoft.com/office/drawing/2014/main" id="{EDB08AA4-4CB2-48AE-93BE-69DF819A6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3308"/>
              <a:ext cx="321" cy="240"/>
            </a:xfrm>
            <a:custGeom>
              <a:avLst/>
              <a:gdLst>
                <a:gd name="T0" fmla="*/ 1 w 135"/>
                <a:gd name="T1" fmla="*/ 100 h 101"/>
                <a:gd name="T2" fmla="*/ 68 w 135"/>
                <a:gd name="T3" fmla="*/ 51 h 101"/>
                <a:gd name="T4" fmla="*/ 135 w 135"/>
                <a:gd name="T5" fmla="*/ 0 h 101"/>
                <a:gd name="T6" fmla="*/ 67 w 135"/>
                <a:gd name="T7" fmla="*/ 50 h 101"/>
                <a:gd name="T8" fmla="*/ 1 w 135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01">
                  <a:moveTo>
                    <a:pt x="1" y="100"/>
                  </a:moveTo>
                  <a:cubicBezTo>
                    <a:pt x="1" y="101"/>
                    <a:pt x="31" y="79"/>
                    <a:pt x="68" y="51"/>
                  </a:cubicBezTo>
                  <a:cubicBezTo>
                    <a:pt x="105" y="23"/>
                    <a:pt x="135" y="1"/>
                    <a:pt x="135" y="0"/>
                  </a:cubicBezTo>
                  <a:cubicBezTo>
                    <a:pt x="134" y="0"/>
                    <a:pt x="104" y="22"/>
                    <a:pt x="67" y="50"/>
                  </a:cubicBezTo>
                  <a:cubicBezTo>
                    <a:pt x="30" y="77"/>
                    <a:pt x="0" y="100"/>
                    <a:pt x="1" y="10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1" name="Freeform 112">
              <a:extLst>
                <a:ext uri="{FF2B5EF4-FFF2-40B4-BE49-F238E27FC236}">
                  <a16:creationId xmlns:a16="http://schemas.microsoft.com/office/drawing/2014/main" id="{0CA1A450-42EA-4A36-BC3F-68D81B5EB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" y="3145"/>
              <a:ext cx="1118" cy="745"/>
            </a:xfrm>
            <a:custGeom>
              <a:avLst/>
              <a:gdLst>
                <a:gd name="T0" fmla="*/ 433 w 471"/>
                <a:gd name="T1" fmla="*/ 314 h 314"/>
                <a:gd name="T2" fmla="*/ 471 w 471"/>
                <a:gd name="T3" fmla="*/ 251 h 314"/>
                <a:gd name="T4" fmla="*/ 190 w 471"/>
                <a:gd name="T5" fmla="*/ 31 h 314"/>
                <a:gd name="T6" fmla="*/ 129 w 471"/>
                <a:gd name="T7" fmla="*/ 6 h 314"/>
                <a:gd name="T8" fmla="*/ 6 w 471"/>
                <a:gd name="T9" fmla="*/ 128 h 314"/>
                <a:gd name="T10" fmla="*/ 11 w 471"/>
                <a:gd name="T11" fmla="*/ 182 h 314"/>
                <a:gd name="T12" fmla="*/ 197 w 471"/>
                <a:gd name="T13" fmla="*/ 241 h 314"/>
                <a:gd name="T14" fmla="*/ 433 w 471"/>
                <a:gd name="T15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1" h="314">
                  <a:moveTo>
                    <a:pt x="433" y="314"/>
                  </a:moveTo>
                  <a:cubicBezTo>
                    <a:pt x="471" y="251"/>
                    <a:pt x="471" y="251"/>
                    <a:pt x="471" y="251"/>
                  </a:cubicBezTo>
                  <a:cubicBezTo>
                    <a:pt x="190" y="31"/>
                    <a:pt x="190" y="31"/>
                    <a:pt x="190" y="31"/>
                  </a:cubicBezTo>
                  <a:cubicBezTo>
                    <a:pt x="173" y="17"/>
                    <a:pt x="151" y="8"/>
                    <a:pt x="129" y="6"/>
                  </a:cubicBezTo>
                  <a:cubicBezTo>
                    <a:pt x="59" y="0"/>
                    <a:pt x="0" y="58"/>
                    <a:pt x="6" y="128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433" y="314"/>
                    <a:pt x="433" y="314"/>
                    <a:pt x="433" y="31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2" name="Freeform 113">
              <a:extLst>
                <a:ext uri="{FF2B5EF4-FFF2-40B4-BE49-F238E27FC236}">
                  <a16:creationId xmlns:a16="http://schemas.microsoft.com/office/drawing/2014/main" id="{1311040B-69ED-4304-8A16-86BD60D2F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3" y="3536"/>
              <a:ext cx="855" cy="354"/>
            </a:xfrm>
            <a:custGeom>
              <a:avLst/>
              <a:gdLst>
                <a:gd name="T0" fmla="*/ 0 w 360"/>
                <a:gd name="T1" fmla="*/ 0 h 149"/>
                <a:gd name="T2" fmla="*/ 0 w 360"/>
                <a:gd name="T3" fmla="*/ 1 h 149"/>
                <a:gd name="T4" fmla="*/ 3 w 360"/>
                <a:gd name="T5" fmla="*/ 3 h 149"/>
                <a:gd name="T6" fmla="*/ 12 w 360"/>
                <a:gd name="T7" fmla="*/ 10 h 149"/>
                <a:gd name="T8" fmla="*/ 18 w 360"/>
                <a:gd name="T9" fmla="*/ 15 h 149"/>
                <a:gd name="T10" fmla="*/ 26 w 360"/>
                <a:gd name="T11" fmla="*/ 20 h 149"/>
                <a:gd name="T12" fmla="*/ 36 w 360"/>
                <a:gd name="T13" fmla="*/ 27 h 149"/>
                <a:gd name="T14" fmla="*/ 41 w 360"/>
                <a:gd name="T15" fmla="*/ 30 h 149"/>
                <a:gd name="T16" fmla="*/ 46 w 360"/>
                <a:gd name="T17" fmla="*/ 34 h 149"/>
                <a:gd name="T18" fmla="*/ 72 w 360"/>
                <a:gd name="T19" fmla="*/ 48 h 149"/>
                <a:gd name="T20" fmla="*/ 86 w 360"/>
                <a:gd name="T21" fmla="*/ 56 h 149"/>
                <a:gd name="T22" fmla="*/ 101 w 360"/>
                <a:gd name="T23" fmla="*/ 63 h 149"/>
                <a:gd name="T24" fmla="*/ 172 w 360"/>
                <a:gd name="T25" fmla="*/ 91 h 149"/>
                <a:gd name="T26" fmla="*/ 305 w 360"/>
                <a:gd name="T27" fmla="*/ 132 h 149"/>
                <a:gd name="T28" fmla="*/ 328 w 360"/>
                <a:gd name="T29" fmla="*/ 139 h 149"/>
                <a:gd name="T30" fmla="*/ 345 w 360"/>
                <a:gd name="T31" fmla="*/ 145 h 149"/>
                <a:gd name="T32" fmla="*/ 356 w 360"/>
                <a:gd name="T33" fmla="*/ 148 h 149"/>
                <a:gd name="T34" fmla="*/ 359 w 360"/>
                <a:gd name="T35" fmla="*/ 149 h 149"/>
                <a:gd name="T36" fmla="*/ 360 w 360"/>
                <a:gd name="T37" fmla="*/ 149 h 149"/>
                <a:gd name="T38" fmla="*/ 359 w 360"/>
                <a:gd name="T39" fmla="*/ 149 h 149"/>
                <a:gd name="T40" fmla="*/ 356 w 360"/>
                <a:gd name="T41" fmla="*/ 148 h 149"/>
                <a:gd name="T42" fmla="*/ 346 w 360"/>
                <a:gd name="T43" fmla="*/ 144 h 149"/>
                <a:gd name="T44" fmla="*/ 328 w 360"/>
                <a:gd name="T45" fmla="*/ 138 h 149"/>
                <a:gd name="T46" fmla="*/ 306 w 360"/>
                <a:gd name="T47" fmla="*/ 131 h 149"/>
                <a:gd name="T48" fmla="*/ 173 w 360"/>
                <a:gd name="T49" fmla="*/ 90 h 149"/>
                <a:gd name="T50" fmla="*/ 102 w 360"/>
                <a:gd name="T51" fmla="*/ 62 h 149"/>
                <a:gd name="T52" fmla="*/ 87 w 360"/>
                <a:gd name="T53" fmla="*/ 54 h 149"/>
                <a:gd name="T54" fmla="*/ 72 w 360"/>
                <a:gd name="T55" fmla="*/ 47 h 149"/>
                <a:gd name="T56" fmla="*/ 47 w 360"/>
                <a:gd name="T57" fmla="*/ 33 h 149"/>
                <a:gd name="T58" fmla="*/ 41 w 360"/>
                <a:gd name="T59" fmla="*/ 29 h 149"/>
                <a:gd name="T60" fmla="*/ 36 w 360"/>
                <a:gd name="T61" fmla="*/ 26 h 149"/>
                <a:gd name="T62" fmla="*/ 27 w 360"/>
                <a:gd name="T63" fmla="*/ 20 h 149"/>
                <a:gd name="T64" fmla="*/ 19 w 360"/>
                <a:gd name="T65" fmla="*/ 14 h 149"/>
                <a:gd name="T66" fmla="*/ 12 w 360"/>
                <a:gd name="T67" fmla="*/ 9 h 149"/>
                <a:gd name="T68" fmla="*/ 3 w 360"/>
                <a:gd name="T69" fmla="*/ 2 h 149"/>
                <a:gd name="T70" fmla="*/ 1 w 360"/>
                <a:gd name="T71" fmla="*/ 1 h 149"/>
                <a:gd name="T72" fmla="*/ 0 w 360"/>
                <a:gd name="T7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149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5" y="4"/>
                    <a:pt x="8" y="7"/>
                    <a:pt x="12" y="10"/>
                  </a:cubicBezTo>
                  <a:cubicBezTo>
                    <a:pt x="14" y="11"/>
                    <a:pt x="16" y="13"/>
                    <a:pt x="18" y="15"/>
                  </a:cubicBezTo>
                  <a:cubicBezTo>
                    <a:pt x="21" y="17"/>
                    <a:pt x="23" y="18"/>
                    <a:pt x="26" y="20"/>
                  </a:cubicBezTo>
                  <a:cubicBezTo>
                    <a:pt x="29" y="22"/>
                    <a:pt x="32" y="25"/>
                    <a:pt x="36" y="27"/>
                  </a:cubicBezTo>
                  <a:cubicBezTo>
                    <a:pt x="37" y="28"/>
                    <a:pt x="39" y="29"/>
                    <a:pt x="41" y="30"/>
                  </a:cubicBezTo>
                  <a:cubicBezTo>
                    <a:pt x="43" y="31"/>
                    <a:pt x="44" y="33"/>
                    <a:pt x="46" y="34"/>
                  </a:cubicBezTo>
                  <a:cubicBezTo>
                    <a:pt x="54" y="38"/>
                    <a:pt x="62" y="43"/>
                    <a:pt x="72" y="48"/>
                  </a:cubicBezTo>
                  <a:cubicBezTo>
                    <a:pt x="76" y="51"/>
                    <a:pt x="81" y="53"/>
                    <a:pt x="86" y="56"/>
                  </a:cubicBezTo>
                  <a:cubicBezTo>
                    <a:pt x="91" y="58"/>
                    <a:pt x="96" y="61"/>
                    <a:pt x="101" y="63"/>
                  </a:cubicBezTo>
                  <a:cubicBezTo>
                    <a:pt x="123" y="73"/>
                    <a:pt x="147" y="83"/>
                    <a:pt x="172" y="91"/>
                  </a:cubicBezTo>
                  <a:cubicBezTo>
                    <a:pt x="224" y="109"/>
                    <a:pt x="271" y="122"/>
                    <a:pt x="305" y="132"/>
                  </a:cubicBezTo>
                  <a:cubicBezTo>
                    <a:pt x="314" y="135"/>
                    <a:pt x="321" y="137"/>
                    <a:pt x="328" y="139"/>
                  </a:cubicBezTo>
                  <a:cubicBezTo>
                    <a:pt x="335" y="141"/>
                    <a:pt x="341" y="143"/>
                    <a:pt x="345" y="145"/>
                  </a:cubicBezTo>
                  <a:cubicBezTo>
                    <a:pt x="350" y="146"/>
                    <a:pt x="354" y="147"/>
                    <a:pt x="356" y="148"/>
                  </a:cubicBezTo>
                  <a:cubicBezTo>
                    <a:pt x="357" y="148"/>
                    <a:pt x="358" y="149"/>
                    <a:pt x="359" y="149"/>
                  </a:cubicBezTo>
                  <a:cubicBezTo>
                    <a:pt x="360" y="149"/>
                    <a:pt x="360" y="149"/>
                    <a:pt x="360" y="149"/>
                  </a:cubicBezTo>
                  <a:cubicBezTo>
                    <a:pt x="360" y="149"/>
                    <a:pt x="360" y="149"/>
                    <a:pt x="359" y="149"/>
                  </a:cubicBezTo>
                  <a:cubicBezTo>
                    <a:pt x="358" y="149"/>
                    <a:pt x="358" y="148"/>
                    <a:pt x="356" y="148"/>
                  </a:cubicBezTo>
                  <a:cubicBezTo>
                    <a:pt x="354" y="147"/>
                    <a:pt x="350" y="146"/>
                    <a:pt x="346" y="144"/>
                  </a:cubicBezTo>
                  <a:cubicBezTo>
                    <a:pt x="341" y="142"/>
                    <a:pt x="335" y="140"/>
                    <a:pt x="328" y="138"/>
                  </a:cubicBezTo>
                  <a:cubicBezTo>
                    <a:pt x="322" y="136"/>
                    <a:pt x="314" y="133"/>
                    <a:pt x="306" y="131"/>
                  </a:cubicBezTo>
                  <a:cubicBezTo>
                    <a:pt x="272" y="120"/>
                    <a:pt x="224" y="107"/>
                    <a:pt x="173" y="90"/>
                  </a:cubicBezTo>
                  <a:cubicBezTo>
                    <a:pt x="147" y="81"/>
                    <a:pt x="123" y="71"/>
                    <a:pt x="102" y="62"/>
                  </a:cubicBezTo>
                  <a:cubicBezTo>
                    <a:pt x="97" y="59"/>
                    <a:pt x="92" y="57"/>
                    <a:pt x="87" y="54"/>
                  </a:cubicBezTo>
                  <a:cubicBezTo>
                    <a:pt x="82" y="52"/>
                    <a:pt x="77" y="49"/>
                    <a:pt x="72" y="47"/>
                  </a:cubicBezTo>
                  <a:cubicBezTo>
                    <a:pt x="63" y="42"/>
                    <a:pt x="55" y="37"/>
                    <a:pt x="47" y="33"/>
                  </a:cubicBezTo>
                  <a:cubicBezTo>
                    <a:pt x="45" y="31"/>
                    <a:pt x="43" y="30"/>
                    <a:pt x="41" y="29"/>
                  </a:cubicBezTo>
                  <a:cubicBezTo>
                    <a:pt x="40" y="28"/>
                    <a:pt x="38" y="27"/>
                    <a:pt x="36" y="26"/>
                  </a:cubicBezTo>
                  <a:cubicBezTo>
                    <a:pt x="33" y="24"/>
                    <a:pt x="30" y="22"/>
                    <a:pt x="27" y="20"/>
                  </a:cubicBezTo>
                  <a:cubicBezTo>
                    <a:pt x="24" y="18"/>
                    <a:pt x="21" y="16"/>
                    <a:pt x="19" y="14"/>
                  </a:cubicBezTo>
                  <a:cubicBezTo>
                    <a:pt x="16" y="12"/>
                    <a:pt x="14" y="11"/>
                    <a:pt x="12" y="9"/>
                  </a:cubicBezTo>
                  <a:cubicBezTo>
                    <a:pt x="8" y="6"/>
                    <a:pt x="5" y="4"/>
                    <a:pt x="3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3" name="Freeform 114">
              <a:extLst>
                <a:ext uri="{FF2B5EF4-FFF2-40B4-BE49-F238E27FC236}">
                  <a16:creationId xmlns:a16="http://schemas.microsoft.com/office/drawing/2014/main" id="{2129237C-AEF0-484E-820F-EDE65FAFD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3605"/>
              <a:ext cx="187" cy="41"/>
            </a:xfrm>
            <a:custGeom>
              <a:avLst/>
              <a:gdLst>
                <a:gd name="T0" fmla="*/ 0 w 79"/>
                <a:gd name="T1" fmla="*/ 0 h 17"/>
                <a:gd name="T2" fmla="*/ 3 w 79"/>
                <a:gd name="T3" fmla="*/ 2 h 17"/>
                <a:gd name="T4" fmla="*/ 11 w 79"/>
                <a:gd name="T5" fmla="*/ 5 h 17"/>
                <a:gd name="T6" fmla="*/ 38 w 79"/>
                <a:gd name="T7" fmla="*/ 13 h 17"/>
                <a:gd name="T8" fmla="*/ 67 w 79"/>
                <a:gd name="T9" fmla="*/ 17 h 17"/>
                <a:gd name="T10" fmla="*/ 75 w 79"/>
                <a:gd name="T11" fmla="*/ 17 h 17"/>
                <a:gd name="T12" fmla="*/ 79 w 79"/>
                <a:gd name="T13" fmla="*/ 17 h 17"/>
                <a:gd name="T14" fmla="*/ 67 w 79"/>
                <a:gd name="T15" fmla="*/ 16 h 17"/>
                <a:gd name="T16" fmla="*/ 39 w 79"/>
                <a:gd name="T17" fmla="*/ 11 h 17"/>
                <a:gd name="T18" fmla="*/ 11 w 79"/>
                <a:gd name="T19" fmla="*/ 4 h 17"/>
                <a:gd name="T20" fmla="*/ 0 w 79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17">
                  <a:moveTo>
                    <a:pt x="0" y="0"/>
                  </a:moveTo>
                  <a:cubicBezTo>
                    <a:pt x="0" y="0"/>
                    <a:pt x="1" y="1"/>
                    <a:pt x="3" y="2"/>
                  </a:cubicBezTo>
                  <a:cubicBezTo>
                    <a:pt x="5" y="3"/>
                    <a:pt x="7" y="4"/>
                    <a:pt x="11" y="5"/>
                  </a:cubicBezTo>
                  <a:cubicBezTo>
                    <a:pt x="18" y="8"/>
                    <a:pt x="27" y="11"/>
                    <a:pt x="38" y="13"/>
                  </a:cubicBezTo>
                  <a:cubicBezTo>
                    <a:pt x="49" y="15"/>
                    <a:pt x="59" y="17"/>
                    <a:pt x="67" y="17"/>
                  </a:cubicBezTo>
                  <a:cubicBezTo>
                    <a:pt x="70" y="17"/>
                    <a:pt x="73" y="17"/>
                    <a:pt x="75" y="17"/>
                  </a:cubicBezTo>
                  <a:cubicBezTo>
                    <a:pt x="78" y="17"/>
                    <a:pt x="79" y="17"/>
                    <a:pt x="79" y="17"/>
                  </a:cubicBezTo>
                  <a:cubicBezTo>
                    <a:pt x="79" y="17"/>
                    <a:pt x="74" y="17"/>
                    <a:pt x="67" y="16"/>
                  </a:cubicBezTo>
                  <a:cubicBezTo>
                    <a:pt x="60" y="15"/>
                    <a:pt x="50" y="14"/>
                    <a:pt x="39" y="11"/>
                  </a:cubicBezTo>
                  <a:cubicBezTo>
                    <a:pt x="28" y="9"/>
                    <a:pt x="18" y="6"/>
                    <a:pt x="11" y="4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4" name="Freeform 115">
              <a:extLst>
                <a:ext uri="{FF2B5EF4-FFF2-40B4-BE49-F238E27FC236}">
                  <a16:creationId xmlns:a16="http://schemas.microsoft.com/office/drawing/2014/main" id="{58FF6959-4452-44F8-ADA8-5271D08C0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" y="3242"/>
              <a:ext cx="644" cy="501"/>
            </a:xfrm>
            <a:custGeom>
              <a:avLst/>
              <a:gdLst>
                <a:gd name="T0" fmla="*/ 1 w 271"/>
                <a:gd name="T1" fmla="*/ 1 h 211"/>
                <a:gd name="T2" fmla="*/ 135 w 271"/>
                <a:gd name="T3" fmla="*/ 106 h 211"/>
                <a:gd name="T4" fmla="*/ 270 w 271"/>
                <a:gd name="T5" fmla="*/ 210 h 211"/>
                <a:gd name="T6" fmla="*/ 136 w 271"/>
                <a:gd name="T7" fmla="*/ 105 h 211"/>
                <a:gd name="T8" fmla="*/ 1 w 271"/>
                <a:gd name="T9" fmla="*/ 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" h="211">
                  <a:moveTo>
                    <a:pt x="1" y="1"/>
                  </a:moveTo>
                  <a:cubicBezTo>
                    <a:pt x="0" y="1"/>
                    <a:pt x="60" y="48"/>
                    <a:pt x="135" y="106"/>
                  </a:cubicBezTo>
                  <a:cubicBezTo>
                    <a:pt x="209" y="164"/>
                    <a:pt x="270" y="211"/>
                    <a:pt x="270" y="210"/>
                  </a:cubicBezTo>
                  <a:cubicBezTo>
                    <a:pt x="271" y="210"/>
                    <a:pt x="211" y="163"/>
                    <a:pt x="136" y="105"/>
                  </a:cubicBezTo>
                  <a:cubicBezTo>
                    <a:pt x="62" y="47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5" name="Freeform 116">
              <a:extLst>
                <a:ext uri="{FF2B5EF4-FFF2-40B4-BE49-F238E27FC236}">
                  <a16:creationId xmlns:a16="http://schemas.microsoft.com/office/drawing/2014/main" id="{81F938E8-9E01-44AB-BEB2-345E94599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" y="3722"/>
              <a:ext cx="494" cy="228"/>
            </a:xfrm>
            <a:custGeom>
              <a:avLst/>
              <a:gdLst>
                <a:gd name="T0" fmla="*/ 19 w 208"/>
                <a:gd name="T1" fmla="*/ 32 h 96"/>
                <a:gd name="T2" fmla="*/ 60 w 208"/>
                <a:gd name="T3" fmla="*/ 34 h 96"/>
                <a:gd name="T4" fmla="*/ 87 w 208"/>
                <a:gd name="T5" fmla="*/ 39 h 96"/>
                <a:gd name="T6" fmla="*/ 102 w 208"/>
                <a:gd name="T7" fmla="*/ 28 h 96"/>
                <a:gd name="T8" fmla="*/ 175 w 208"/>
                <a:gd name="T9" fmla="*/ 1 h 96"/>
                <a:gd name="T10" fmla="*/ 195 w 208"/>
                <a:gd name="T11" fmla="*/ 10 h 96"/>
                <a:gd name="T12" fmla="*/ 186 w 208"/>
                <a:gd name="T13" fmla="*/ 56 h 96"/>
                <a:gd name="T14" fmla="*/ 107 w 208"/>
                <a:gd name="T15" fmla="*/ 94 h 96"/>
                <a:gd name="T16" fmla="*/ 24 w 208"/>
                <a:gd name="T17" fmla="*/ 82 h 96"/>
                <a:gd name="T18" fmla="*/ 9 w 208"/>
                <a:gd name="T19" fmla="*/ 43 h 96"/>
                <a:gd name="T20" fmla="*/ 19 w 208"/>
                <a:gd name="T21" fmla="*/ 3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" h="96">
                  <a:moveTo>
                    <a:pt x="19" y="32"/>
                  </a:moveTo>
                  <a:cubicBezTo>
                    <a:pt x="32" y="25"/>
                    <a:pt x="47" y="29"/>
                    <a:pt x="60" y="34"/>
                  </a:cubicBezTo>
                  <a:cubicBezTo>
                    <a:pt x="69" y="37"/>
                    <a:pt x="78" y="41"/>
                    <a:pt x="87" y="39"/>
                  </a:cubicBezTo>
                  <a:cubicBezTo>
                    <a:pt x="93" y="37"/>
                    <a:pt x="98" y="32"/>
                    <a:pt x="102" y="28"/>
                  </a:cubicBezTo>
                  <a:cubicBezTo>
                    <a:pt x="122" y="10"/>
                    <a:pt x="149" y="0"/>
                    <a:pt x="175" y="1"/>
                  </a:cubicBezTo>
                  <a:cubicBezTo>
                    <a:pt x="183" y="2"/>
                    <a:pt x="190" y="5"/>
                    <a:pt x="195" y="10"/>
                  </a:cubicBezTo>
                  <a:cubicBezTo>
                    <a:pt x="208" y="25"/>
                    <a:pt x="198" y="44"/>
                    <a:pt x="186" y="56"/>
                  </a:cubicBezTo>
                  <a:cubicBezTo>
                    <a:pt x="165" y="77"/>
                    <a:pt x="137" y="91"/>
                    <a:pt x="107" y="94"/>
                  </a:cubicBezTo>
                  <a:cubicBezTo>
                    <a:pt x="83" y="96"/>
                    <a:pt x="49" y="93"/>
                    <a:pt x="24" y="82"/>
                  </a:cubicBezTo>
                  <a:cubicBezTo>
                    <a:pt x="8" y="76"/>
                    <a:pt x="0" y="57"/>
                    <a:pt x="9" y="43"/>
                  </a:cubicBezTo>
                  <a:cubicBezTo>
                    <a:pt x="11" y="38"/>
                    <a:pt x="14" y="35"/>
                    <a:pt x="19" y="32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6" name="Freeform 117">
              <a:extLst>
                <a:ext uri="{FF2B5EF4-FFF2-40B4-BE49-F238E27FC236}">
                  <a16:creationId xmlns:a16="http://schemas.microsoft.com/office/drawing/2014/main" id="{F6B54FAA-A712-4336-835B-FD119919D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3867"/>
              <a:ext cx="218" cy="78"/>
            </a:xfrm>
            <a:custGeom>
              <a:avLst/>
              <a:gdLst>
                <a:gd name="T0" fmla="*/ 92 w 92"/>
                <a:gd name="T1" fmla="*/ 0 h 33"/>
                <a:gd name="T2" fmla="*/ 92 w 92"/>
                <a:gd name="T3" fmla="*/ 0 h 33"/>
                <a:gd name="T4" fmla="*/ 18 w 92"/>
                <a:gd name="T5" fmla="*/ 33 h 33"/>
                <a:gd name="T6" fmla="*/ 2 w 92"/>
                <a:gd name="T7" fmla="*/ 33 h 33"/>
                <a:gd name="T8" fmla="*/ 0 w 92"/>
                <a:gd name="T9" fmla="*/ 33 h 33"/>
                <a:gd name="T10" fmla="*/ 2 w 92"/>
                <a:gd name="T11" fmla="*/ 33 h 33"/>
                <a:gd name="T12" fmla="*/ 18 w 92"/>
                <a:gd name="T13" fmla="*/ 33 h 33"/>
                <a:gd name="T14" fmla="*/ 92 w 92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33">
                  <a:moveTo>
                    <a:pt x="92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72" y="18"/>
                    <a:pt x="46" y="30"/>
                    <a:pt x="18" y="33"/>
                  </a:cubicBezTo>
                  <a:cubicBezTo>
                    <a:pt x="13" y="33"/>
                    <a:pt x="8" y="33"/>
                    <a:pt x="2" y="33"/>
                  </a:cubicBezTo>
                  <a:cubicBezTo>
                    <a:pt x="1" y="33"/>
                    <a:pt x="1" y="33"/>
                    <a:pt x="0" y="33"/>
                  </a:cubicBezTo>
                  <a:cubicBezTo>
                    <a:pt x="1" y="33"/>
                    <a:pt x="1" y="33"/>
                    <a:pt x="2" y="33"/>
                  </a:cubicBezTo>
                  <a:cubicBezTo>
                    <a:pt x="8" y="33"/>
                    <a:pt x="13" y="33"/>
                    <a:pt x="18" y="33"/>
                  </a:cubicBezTo>
                  <a:cubicBezTo>
                    <a:pt x="46" y="30"/>
                    <a:pt x="72" y="18"/>
                    <a:pt x="92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7" name="Freeform 118">
              <a:extLst>
                <a:ext uri="{FF2B5EF4-FFF2-40B4-BE49-F238E27FC236}">
                  <a16:creationId xmlns:a16="http://schemas.microsoft.com/office/drawing/2014/main" id="{9C682D85-A0D4-4DD9-9405-7E69145AB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3864"/>
              <a:ext cx="3" cy="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0 w 1"/>
                <a:gd name="T5" fmla="*/ 1 h 1"/>
                <a:gd name="T6" fmla="*/ 0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8" name="Freeform 119">
              <a:extLst>
                <a:ext uri="{FF2B5EF4-FFF2-40B4-BE49-F238E27FC236}">
                  <a16:creationId xmlns:a16="http://schemas.microsoft.com/office/drawing/2014/main" id="{C6119B77-551C-4A93-A9A1-1E179F795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855"/>
              <a:ext cx="9" cy="9"/>
            </a:xfrm>
            <a:custGeom>
              <a:avLst/>
              <a:gdLst>
                <a:gd name="T0" fmla="*/ 4 w 4"/>
                <a:gd name="T1" fmla="*/ 0 h 4"/>
                <a:gd name="T2" fmla="*/ 0 w 4"/>
                <a:gd name="T3" fmla="*/ 4 h 4"/>
                <a:gd name="T4" fmla="*/ 0 w 4"/>
                <a:gd name="T5" fmla="*/ 4 h 4"/>
                <a:gd name="T6" fmla="*/ 4 w 4"/>
                <a:gd name="T7" fmla="*/ 0 h 4"/>
                <a:gd name="T8" fmla="*/ 4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cubicBezTo>
                    <a:pt x="3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868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9" name="Freeform 120">
              <a:extLst>
                <a:ext uri="{FF2B5EF4-FFF2-40B4-BE49-F238E27FC236}">
                  <a16:creationId xmlns:a16="http://schemas.microsoft.com/office/drawing/2014/main" id="{F1772C98-DF03-4909-B4B8-0C5F957B5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4" y="3814"/>
              <a:ext cx="29" cy="41"/>
            </a:xfrm>
            <a:custGeom>
              <a:avLst/>
              <a:gdLst>
                <a:gd name="T0" fmla="*/ 0 w 12"/>
                <a:gd name="T1" fmla="*/ 17 h 17"/>
                <a:gd name="T2" fmla="*/ 0 w 12"/>
                <a:gd name="T3" fmla="*/ 17 h 17"/>
                <a:gd name="T4" fmla="*/ 0 w 12"/>
                <a:gd name="T5" fmla="*/ 17 h 17"/>
                <a:gd name="T6" fmla="*/ 0 w 12"/>
                <a:gd name="T7" fmla="*/ 17 h 17"/>
                <a:gd name="T8" fmla="*/ 0 w 12"/>
                <a:gd name="T9" fmla="*/ 17 h 17"/>
                <a:gd name="T10" fmla="*/ 12 w 12"/>
                <a:gd name="T11" fmla="*/ 0 h 17"/>
                <a:gd name="T12" fmla="*/ 1 w 12"/>
                <a:gd name="T13" fmla="*/ 16 h 17"/>
                <a:gd name="T14" fmla="*/ 1 w 12"/>
                <a:gd name="T15" fmla="*/ 16 h 17"/>
                <a:gd name="T16" fmla="*/ 12 w 12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7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moveTo>
                    <a:pt x="12" y="0"/>
                  </a:moveTo>
                  <a:cubicBezTo>
                    <a:pt x="9" y="6"/>
                    <a:pt x="5" y="11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5" y="11"/>
                    <a:pt x="9" y="6"/>
                    <a:pt x="12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0" name="Freeform 121">
              <a:extLst>
                <a:ext uri="{FF2B5EF4-FFF2-40B4-BE49-F238E27FC236}">
                  <a16:creationId xmlns:a16="http://schemas.microsoft.com/office/drawing/2014/main" id="{0EE53B0E-25D0-4A7E-B521-65B5AB1B8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852"/>
              <a:ext cx="2" cy="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1 w 1"/>
                <a:gd name="T11" fmla="*/ 0 h 1"/>
                <a:gd name="T12" fmla="*/ 1 w 1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2936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1" name="Freeform 122">
              <a:extLst>
                <a:ext uri="{FF2B5EF4-FFF2-40B4-BE49-F238E27FC236}">
                  <a16:creationId xmlns:a16="http://schemas.microsoft.com/office/drawing/2014/main" id="{1DD16B04-6287-4412-BD19-0267964D6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3"/>
              <a:ext cx="463" cy="192"/>
            </a:xfrm>
            <a:custGeom>
              <a:avLst/>
              <a:gdLst>
                <a:gd name="T0" fmla="*/ 163 w 195"/>
                <a:gd name="T1" fmla="*/ 0 h 81"/>
                <a:gd name="T2" fmla="*/ 96 w 195"/>
                <a:gd name="T3" fmla="*/ 26 h 81"/>
                <a:gd name="T4" fmla="*/ 81 w 195"/>
                <a:gd name="T5" fmla="*/ 37 h 81"/>
                <a:gd name="T6" fmla="*/ 75 w 195"/>
                <a:gd name="T7" fmla="*/ 38 h 81"/>
                <a:gd name="T8" fmla="*/ 54 w 195"/>
                <a:gd name="T9" fmla="*/ 32 h 81"/>
                <a:gd name="T10" fmla="*/ 29 w 195"/>
                <a:gd name="T11" fmla="*/ 27 h 81"/>
                <a:gd name="T12" fmla="*/ 13 w 195"/>
                <a:gd name="T13" fmla="*/ 31 h 81"/>
                <a:gd name="T14" fmla="*/ 3 w 195"/>
                <a:gd name="T15" fmla="*/ 41 h 81"/>
                <a:gd name="T16" fmla="*/ 0 w 195"/>
                <a:gd name="T17" fmla="*/ 48 h 81"/>
                <a:gd name="T18" fmla="*/ 18 w 195"/>
                <a:gd name="T19" fmla="*/ 69 h 81"/>
                <a:gd name="T20" fmla="*/ 83 w 195"/>
                <a:gd name="T21" fmla="*/ 81 h 81"/>
                <a:gd name="T22" fmla="*/ 85 w 195"/>
                <a:gd name="T23" fmla="*/ 81 h 81"/>
                <a:gd name="T24" fmla="*/ 101 w 195"/>
                <a:gd name="T25" fmla="*/ 81 h 81"/>
                <a:gd name="T26" fmla="*/ 175 w 195"/>
                <a:gd name="T27" fmla="*/ 48 h 81"/>
                <a:gd name="T28" fmla="*/ 176 w 195"/>
                <a:gd name="T29" fmla="*/ 47 h 81"/>
                <a:gd name="T30" fmla="*/ 176 w 195"/>
                <a:gd name="T31" fmla="*/ 47 h 81"/>
                <a:gd name="T32" fmla="*/ 180 w 195"/>
                <a:gd name="T33" fmla="*/ 43 h 81"/>
                <a:gd name="T34" fmla="*/ 180 w 195"/>
                <a:gd name="T35" fmla="*/ 43 h 81"/>
                <a:gd name="T36" fmla="*/ 180 w 195"/>
                <a:gd name="T37" fmla="*/ 43 h 81"/>
                <a:gd name="T38" fmla="*/ 181 w 195"/>
                <a:gd name="T39" fmla="*/ 42 h 81"/>
                <a:gd name="T40" fmla="*/ 192 w 195"/>
                <a:gd name="T41" fmla="*/ 26 h 81"/>
                <a:gd name="T42" fmla="*/ 195 w 195"/>
                <a:gd name="T43" fmla="*/ 19 h 81"/>
                <a:gd name="T44" fmla="*/ 189 w 195"/>
                <a:gd name="T45" fmla="*/ 9 h 81"/>
                <a:gd name="T46" fmla="*/ 169 w 195"/>
                <a:gd name="T47" fmla="*/ 0 h 81"/>
                <a:gd name="T48" fmla="*/ 163 w 195"/>
                <a:gd name="T4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81">
                  <a:moveTo>
                    <a:pt x="163" y="0"/>
                  </a:moveTo>
                  <a:cubicBezTo>
                    <a:pt x="139" y="0"/>
                    <a:pt x="114" y="9"/>
                    <a:pt x="96" y="26"/>
                  </a:cubicBezTo>
                  <a:cubicBezTo>
                    <a:pt x="92" y="30"/>
                    <a:pt x="87" y="36"/>
                    <a:pt x="81" y="37"/>
                  </a:cubicBezTo>
                  <a:cubicBezTo>
                    <a:pt x="79" y="38"/>
                    <a:pt x="77" y="38"/>
                    <a:pt x="75" y="38"/>
                  </a:cubicBezTo>
                  <a:cubicBezTo>
                    <a:pt x="68" y="38"/>
                    <a:pt x="61" y="35"/>
                    <a:pt x="54" y="32"/>
                  </a:cubicBezTo>
                  <a:cubicBezTo>
                    <a:pt x="46" y="30"/>
                    <a:pt x="38" y="27"/>
                    <a:pt x="29" y="27"/>
                  </a:cubicBezTo>
                  <a:cubicBezTo>
                    <a:pt x="24" y="27"/>
                    <a:pt x="18" y="28"/>
                    <a:pt x="13" y="31"/>
                  </a:cubicBezTo>
                  <a:cubicBezTo>
                    <a:pt x="8" y="33"/>
                    <a:pt x="5" y="37"/>
                    <a:pt x="3" y="41"/>
                  </a:cubicBezTo>
                  <a:cubicBezTo>
                    <a:pt x="1" y="43"/>
                    <a:pt x="1" y="46"/>
                    <a:pt x="0" y="48"/>
                  </a:cubicBezTo>
                  <a:cubicBezTo>
                    <a:pt x="2" y="57"/>
                    <a:pt x="9" y="65"/>
                    <a:pt x="18" y="69"/>
                  </a:cubicBezTo>
                  <a:cubicBezTo>
                    <a:pt x="37" y="77"/>
                    <a:pt x="62" y="81"/>
                    <a:pt x="83" y="81"/>
                  </a:cubicBezTo>
                  <a:cubicBezTo>
                    <a:pt x="84" y="81"/>
                    <a:pt x="84" y="81"/>
                    <a:pt x="85" y="81"/>
                  </a:cubicBezTo>
                  <a:cubicBezTo>
                    <a:pt x="91" y="81"/>
                    <a:pt x="96" y="81"/>
                    <a:pt x="101" y="81"/>
                  </a:cubicBezTo>
                  <a:cubicBezTo>
                    <a:pt x="129" y="78"/>
                    <a:pt x="155" y="66"/>
                    <a:pt x="175" y="48"/>
                  </a:cubicBezTo>
                  <a:cubicBezTo>
                    <a:pt x="175" y="47"/>
                    <a:pt x="176" y="47"/>
                    <a:pt x="176" y="47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77" y="46"/>
                    <a:pt x="179" y="44"/>
                    <a:pt x="180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85" y="37"/>
                    <a:pt x="189" y="32"/>
                    <a:pt x="192" y="26"/>
                  </a:cubicBezTo>
                  <a:cubicBezTo>
                    <a:pt x="193" y="24"/>
                    <a:pt x="194" y="21"/>
                    <a:pt x="195" y="19"/>
                  </a:cubicBezTo>
                  <a:cubicBezTo>
                    <a:pt x="194" y="16"/>
                    <a:pt x="192" y="12"/>
                    <a:pt x="189" y="9"/>
                  </a:cubicBezTo>
                  <a:cubicBezTo>
                    <a:pt x="184" y="3"/>
                    <a:pt x="177" y="0"/>
                    <a:pt x="169" y="0"/>
                  </a:cubicBezTo>
                  <a:cubicBezTo>
                    <a:pt x="167" y="0"/>
                    <a:pt x="165" y="0"/>
                    <a:pt x="163" y="0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2" name="Freeform 123">
              <a:extLst>
                <a:ext uri="{FF2B5EF4-FFF2-40B4-BE49-F238E27FC236}">
                  <a16:creationId xmlns:a16="http://schemas.microsoft.com/office/drawing/2014/main" id="{E16379F6-4E9C-49ED-B6BE-4A248DD56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0"/>
              <a:ext cx="463" cy="117"/>
            </a:xfrm>
            <a:custGeom>
              <a:avLst/>
              <a:gdLst>
                <a:gd name="T0" fmla="*/ 0 w 195"/>
                <a:gd name="T1" fmla="*/ 49 h 49"/>
                <a:gd name="T2" fmla="*/ 3 w 195"/>
                <a:gd name="T3" fmla="*/ 41 h 49"/>
                <a:gd name="T4" fmla="*/ 11 w 195"/>
                <a:gd name="T5" fmla="*/ 34 h 49"/>
                <a:gd name="T6" fmla="*/ 23 w 195"/>
                <a:gd name="T7" fmla="*/ 29 h 49"/>
                <a:gd name="T8" fmla="*/ 57 w 195"/>
                <a:gd name="T9" fmla="*/ 36 h 49"/>
                <a:gd name="T10" fmla="*/ 78 w 195"/>
                <a:gd name="T11" fmla="*/ 39 h 49"/>
                <a:gd name="T12" fmla="*/ 89 w 195"/>
                <a:gd name="T13" fmla="*/ 35 h 49"/>
                <a:gd name="T14" fmla="*/ 98 w 195"/>
                <a:gd name="T15" fmla="*/ 28 h 49"/>
                <a:gd name="T16" fmla="*/ 135 w 195"/>
                <a:gd name="T17" fmla="*/ 6 h 49"/>
                <a:gd name="T18" fmla="*/ 154 w 195"/>
                <a:gd name="T19" fmla="*/ 2 h 49"/>
                <a:gd name="T20" fmla="*/ 170 w 195"/>
                <a:gd name="T21" fmla="*/ 2 h 49"/>
                <a:gd name="T22" fmla="*/ 183 w 195"/>
                <a:gd name="T23" fmla="*/ 6 h 49"/>
                <a:gd name="T24" fmla="*/ 190 w 195"/>
                <a:gd name="T25" fmla="*/ 13 h 49"/>
                <a:gd name="T26" fmla="*/ 195 w 195"/>
                <a:gd name="T27" fmla="*/ 20 h 49"/>
                <a:gd name="T28" fmla="*/ 191 w 195"/>
                <a:gd name="T29" fmla="*/ 13 h 49"/>
                <a:gd name="T30" fmla="*/ 183 w 195"/>
                <a:gd name="T31" fmla="*/ 6 h 49"/>
                <a:gd name="T32" fmla="*/ 170 w 195"/>
                <a:gd name="T33" fmla="*/ 1 h 49"/>
                <a:gd name="T34" fmla="*/ 153 w 195"/>
                <a:gd name="T35" fmla="*/ 1 h 49"/>
                <a:gd name="T36" fmla="*/ 135 w 195"/>
                <a:gd name="T37" fmla="*/ 5 h 49"/>
                <a:gd name="T38" fmla="*/ 115 w 195"/>
                <a:gd name="T39" fmla="*/ 13 h 49"/>
                <a:gd name="T40" fmla="*/ 106 w 195"/>
                <a:gd name="T41" fmla="*/ 19 h 49"/>
                <a:gd name="T42" fmla="*/ 97 w 195"/>
                <a:gd name="T43" fmla="*/ 27 h 49"/>
                <a:gd name="T44" fmla="*/ 88 w 195"/>
                <a:gd name="T45" fmla="*/ 34 h 49"/>
                <a:gd name="T46" fmla="*/ 78 w 195"/>
                <a:gd name="T47" fmla="*/ 37 h 49"/>
                <a:gd name="T48" fmla="*/ 58 w 195"/>
                <a:gd name="T49" fmla="*/ 34 h 49"/>
                <a:gd name="T50" fmla="*/ 23 w 195"/>
                <a:gd name="T51" fmla="*/ 28 h 49"/>
                <a:gd name="T52" fmla="*/ 3 w 195"/>
                <a:gd name="T53" fmla="*/ 41 h 49"/>
                <a:gd name="T54" fmla="*/ 0 w 195"/>
                <a:gd name="T55" fmla="*/ 47 h 49"/>
                <a:gd name="T56" fmla="*/ 0 w 195"/>
                <a:gd name="T5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5" h="49">
                  <a:moveTo>
                    <a:pt x="0" y="49"/>
                  </a:moveTo>
                  <a:cubicBezTo>
                    <a:pt x="0" y="49"/>
                    <a:pt x="0" y="46"/>
                    <a:pt x="3" y="41"/>
                  </a:cubicBezTo>
                  <a:cubicBezTo>
                    <a:pt x="5" y="39"/>
                    <a:pt x="7" y="36"/>
                    <a:pt x="11" y="34"/>
                  </a:cubicBezTo>
                  <a:cubicBezTo>
                    <a:pt x="14" y="32"/>
                    <a:pt x="18" y="30"/>
                    <a:pt x="23" y="29"/>
                  </a:cubicBezTo>
                  <a:cubicBezTo>
                    <a:pt x="33" y="28"/>
                    <a:pt x="45" y="32"/>
                    <a:pt x="57" y="36"/>
                  </a:cubicBezTo>
                  <a:cubicBezTo>
                    <a:pt x="64" y="37"/>
                    <a:pt x="71" y="40"/>
                    <a:pt x="78" y="39"/>
                  </a:cubicBezTo>
                  <a:cubicBezTo>
                    <a:pt x="82" y="39"/>
                    <a:pt x="86" y="37"/>
                    <a:pt x="89" y="35"/>
                  </a:cubicBezTo>
                  <a:cubicBezTo>
                    <a:pt x="92" y="33"/>
                    <a:pt x="95" y="31"/>
                    <a:pt x="98" y="28"/>
                  </a:cubicBezTo>
                  <a:cubicBezTo>
                    <a:pt x="110" y="17"/>
                    <a:pt x="123" y="11"/>
                    <a:pt x="135" y="6"/>
                  </a:cubicBezTo>
                  <a:cubicBezTo>
                    <a:pt x="142" y="4"/>
                    <a:pt x="148" y="3"/>
                    <a:pt x="154" y="2"/>
                  </a:cubicBezTo>
                  <a:cubicBezTo>
                    <a:pt x="159" y="1"/>
                    <a:pt x="165" y="1"/>
                    <a:pt x="170" y="2"/>
                  </a:cubicBezTo>
                  <a:cubicBezTo>
                    <a:pt x="175" y="3"/>
                    <a:pt x="179" y="4"/>
                    <a:pt x="183" y="6"/>
                  </a:cubicBezTo>
                  <a:cubicBezTo>
                    <a:pt x="186" y="8"/>
                    <a:pt x="188" y="11"/>
                    <a:pt x="190" y="13"/>
                  </a:cubicBezTo>
                  <a:cubicBezTo>
                    <a:pt x="194" y="17"/>
                    <a:pt x="195" y="20"/>
                    <a:pt x="195" y="20"/>
                  </a:cubicBezTo>
                  <a:cubicBezTo>
                    <a:pt x="195" y="20"/>
                    <a:pt x="194" y="17"/>
                    <a:pt x="191" y="13"/>
                  </a:cubicBezTo>
                  <a:cubicBezTo>
                    <a:pt x="189" y="10"/>
                    <a:pt x="187" y="8"/>
                    <a:pt x="183" y="6"/>
                  </a:cubicBezTo>
                  <a:cubicBezTo>
                    <a:pt x="180" y="3"/>
                    <a:pt x="175" y="2"/>
                    <a:pt x="170" y="1"/>
                  </a:cubicBezTo>
                  <a:cubicBezTo>
                    <a:pt x="165" y="0"/>
                    <a:pt x="159" y="0"/>
                    <a:pt x="153" y="1"/>
                  </a:cubicBezTo>
                  <a:cubicBezTo>
                    <a:pt x="147" y="1"/>
                    <a:pt x="141" y="3"/>
                    <a:pt x="135" y="5"/>
                  </a:cubicBezTo>
                  <a:cubicBezTo>
                    <a:pt x="128" y="7"/>
                    <a:pt x="122" y="10"/>
                    <a:pt x="115" y="13"/>
                  </a:cubicBezTo>
                  <a:cubicBezTo>
                    <a:pt x="112" y="15"/>
                    <a:pt x="109" y="17"/>
                    <a:pt x="106" y="19"/>
                  </a:cubicBezTo>
                  <a:cubicBezTo>
                    <a:pt x="103" y="22"/>
                    <a:pt x="100" y="24"/>
                    <a:pt x="97" y="27"/>
                  </a:cubicBezTo>
                  <a:cubicBezTo>
                    <a:pt x="94" y="29"/>
                    <a:pt x="91" y="32"/>
                    <a:pt x="88" y="34"/>
                  </a:cubicBezTo>
                  <a:cubicBezTo>
                    <a:pt x="85" y="36"/>
                    <a:pt x="82" y="37"/>
                    <a:pt x="78" y="37"/>
                  </a:cubicBezTo>
                  <a:cubicBezTo>
                    <a:pt x="71" y="38"/>
                    <a:pt x="64" y="36"/>
                    <a:pt x="58" y="34"/>
                  </a:cubicBezTo>
                  <a:cubicBezTo>
                    <a:pt x="45" y="31"/>
                    <a:pt x="33" y="27"/>
                    <a:pt x="23" y="28"/>
                  </a:cubicBezTo>
                  <a:cubicBezTo>
                    <a:pt x="12" y="30"/>
                    <a:pt x="6" y="36"/>
                    <a:pt x="3" y="41"/>
                  </a:cubicBezTo>
                  <a:cubicBezTo>
                    <a:pt x="1" y="43"/>
                    <a:pt x="1" y="45"/>
                    <a:pt x="0" y="47"/>
                  </a:cubicBezTo>
                  <a:cubicBezTo>
                    <a:pt x="0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3" name="Freeform 124">
              <a:extLst>
                <a:ext uri="{FF2B5EF4-FFF2-40B4-BE49-F238E27FC236}">
                  <a16:creationId xmlns:a16="http://schemas.microsoft.com/office/drawing/2014/main" id="{6DCB03A0-140B-4391-A031-C4B14E474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0"/>
              <a:ext cx="463" cy="117"/>
            </a:xfrm>
            <a:custGeom>
              <a:avLst/>
              <a:gdLst>
                <a:gd name="T0" fmla="*/ 0 w 195"/>
                <a:gd name="T1" fmla="*/ 49 h 49"/>
                <a:gd name="T2" fmla="*/ 3 w 195"/>
                <a:gd name="T3" fmla="*/ 41 h 49"/>
                <a:gd name="T4" fmla="*/ 11 w 195"/>
                <a:gd name="T5" fmla="*/ 34 h 49"/>
                <a:gd name="T6" fmla="*/ 23 w 195"/>
                <a:gd name="T7" fmla="*/ 29 h 49"/>
                <a:gd name="T8" fmla="*/ 57 w 195"/>
                <a:gd name="T9" fmla="*/ 36 h 49"/>
                <a:gd name="T10" fmla="*/ 78 w 195"/>
                <a:gd name="T11" fmla="*/ 39 h 49"/>
                <a:gd name="T12" fmla="*/ 89 w 195"/>
                <a:gd name="T13" fmla="*/ 35 h 49"/>
                <a:gd name="T14" fmla="*/ 98 w 195"/>
                <a:gd name="T15" fmla="*/ 28 h 49"/>
                <a:gd name="T16" fmla="*/ 135 w 195"/>
                <a:gd name="T17" fmla="*/ 6 h 49"/>
                <a:gd name="T18" fmla="*/ 154 w 195"/>
                <a:gd name="T19" fmla="*/ 2 h 49"/>
                <a:gd name="T20" fmla="*/ 170 w 195"/>
                <a:gd name="T21" fmla="*/ 2 h 49"/>
                <a:gd name="T22" fmla="*/ 183 w 195"/>
                <a:gd name="T23" fmla="*/ 6 h 49"/>
                <a:gd name="T24" fmla="*/ 190 w 195"/>
                <a:gd name="T25" fmla="*/ 13 h 49"/>
                <a:gd name="T26" fmla="*/ 195 w 195"/>
                <a:gd name="T27" fmla="*/ 20 h 49"/>
                <a:gd name="T28" fmla="*/ 191 w 195"/>
                <a:gd name="T29" fmla="*/ 13 h 49"/>
                <a:gd name="T30" fmla="*/ 183 w 195"/>
                <a:gd name="T31" fmla="*/ 6 h 49"/>
                <a:gd name="T32" fmla="*/ 170 w 195"/>
                <a:gd name="T33" fmla="*/ 1 h 49"/>
                <a:gd name="T34" fmla="*/ 153 w 195"/>
                <a:gd name="T35" fmla="*/ 1 h 49"/>
                <a:gd name="T36" fmla="*/ 135 w 195"/>
                <a:gd name="T37" fmla="*/ 5 h 49"/>
                <a:gd name="T38" fmla="*/ 115 w 195"/>
                <a:gd name="T39" fmla="*/ 13 h 49"/>
                <a:gd name="T40" fmla="*/ 106 w 195"/>
                <a:gd name="T41" fmla="*/ 19 h 49"/>
                <a:gd name="T42" fmla="*/ 97 w 195"/>
                <a:gd name="T43" fmla="*/ 27 h 49"/>
                <a:gd name="T44" fmla="*/ 88 w 195"/>
                <a:gd name="T45" fmla="*/ 34 h 49"/>
                <a:gd name="T46" fmla="*/ 78 w 195"/>
                <a:gd name="T47" fmla="*/ 37 h 49"/>
                <a:gd name="T48" fmla="*/ 58 w 195"/>
                <a:gd name="T49" fmla="*/ 34 h 49"/>
                <a:gd name="T50" fmla="*/ 23 w 195"/>
                <a:gd name="T51" fmla="*/ 28 h 49"/>
                <a:gd name="T52" fmla="*/ 3 w 195"/>
                <a:gd name="T53" fmla="*/ 41 h 49"/>
                <a:gd name="T54" fmla="*/ 0 w 195"/>
                <a:gd name="T55" fmla="*/ 47 h 49"/>
                <a:gd name="T56" fmla="*/ 0 w 195"/>
                <a:gd name="T5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5" h="49">
                  <a:moveTo>
                    <a:pt x="0" y="49"/>
                  </a:moveTo>
                  <a:cubicBezTo>
                    <a:pt x="0" y="49"/>
                    <a:pt x="0" y="46"/>
                    <a:pt x="3" y="41"/>
                  </a:cubicBezTo>
                  <a:cubicBezTo>
                    <a:pt x="5" y="39"/>
                    <a:pt x="7" y="36"/>
                    <a:pt x="11" y="34"/>
                  </a:cubicBezTo>
                  <a:cubicBezTo>
                    <a:pt x="14" y="32"/>
                    <a:pt x="18" y="30"/>
                    <a:pt x="23" y="29"/>
                  </a:cubicBezTo>
                  <a:cubicBezTo>
                    <a:pt x="33" y="28"/>
                    <a:pt x="45" y="32"/>
                    <a:pt x="57" y="36"/>
                  </a:cubicBezTo>
                  <a:cubicBezTo>
                    <a:pt x="64" y="37"/>
                    <a:pt x="71" y="40"/>
                    <a:pt x="78" y="39"/>
                  </a:cubicBezTo>
                  <a:cubicBezTo>
                    <a:pt x="82" y="39"/>
                    <a:pt x="86" y="37"/>
                    <a:pt x="89" y="35"/>
                  </a:cubicBezTo>
                  <a:cubicBezTo>
                    <a:pt x="92" y="33"/>
                    <a:pt x="95" y="31"/>
                    <a:pt x="98" y="28"/>
                  </a:cubicBezTo>
                  <a:cubicBezTo>
                    <a:pt x="110" y="17"/>
                    <a:pt x="123" y="11"/>
                    <a:pt x="135" y="6"/>
                  </a:cubicBezTo>
                  <a:cubicBezTo>
                    <a:pt x="142" y="4"/>
                    <a:pt x="148" y="3"/>
                    <a:pt x="154" y="2"/>
                  </a:cubicBezTo>
                  <a:cubicBezTo>
                    <a:pt x="159" y="1"/>
                    <a:pt x="165" y="1"/>
                    <a:pt x="170" y="2"/>
                  </a:cubicBezTo>
                  <a:cubicBezTo>
                    <a:pt x="175" y="3"/>
                    <a:pt x="179" y="4"/>
                    <a:pt x="183" y="6"/>
                  </a:cubicBezTo>
                  <a:cubicBezTo>
                    <a:pt x="186" y="8"/>
                    <a:pt x="188" y="11"/>
                    <a:pt x="190" y="13"/>
                  </a:cubicBezTo>
                  <a:cubicBezTo>
                    <a:pt x="194" y="17"/>
                    <a:pt x="195" y="20"/>
                    <a:pt x="195" y="20"/>
                  </a:cubicBezTo>
                  <a:cubicBezTo>
                    <a:pt x="195" y="20"/>
                    <a:pt x="194" y="17"/>
                    <a:pt x="191" y="13"/>
                  </a:cubicBezTo>
                  <a:cubicBezTo>
                    <a:pt x="189" y="10"/>
                    <a:pt x="187" y="8"/>
                    <a:pt x="183" y="6"/>
                  </a:cubicBezTo>
                  <a:cubicBezTo>
                    <a:pt x="180" y="3"/>
                    <a:pt x="175" y="2"/>
                    <a:pt x="170" y="1"/>
                  </a:cubicBezTo>
                  <a:cubicBezTo>
                    <a:pt x="165" y="0"/>
                    <a:pt x="159" y="0"/>
                    <a:pt x="153" y="1"/>
                  </a:cubicBezTo>
                  <a:cubicBezTo>
                    <a:pt x="147" y="1"/>
                    <a:pt x="141" y="3"/>
                    <a:pt x="135" y="5"/>
                  </a:cubicBezTo>
                  <a:cubicBezTo>
                    <a:pt x="128" y="7"/>
                    <a:pt x="122" y="10"/>
                    <a:pt x="115" y="13"/>
                  </a:cubicBezTo>
                  <a:cubicBezTo>
                    <a:pt x="112" y="15"/>
                    <a:pt x="109" y="17"/>
                    <a:pt x="106" y="19"/>
                  </a:cubicBezTo>
                  <a:cubicBezTo>
                    <a:pt x="103" y="22"/>
                    <a:pt x="100" y="24"/>
                    <a:pt x="97" y="27"/>
                  </a:cubicBezTo>
                  <a:cubicBezTo>
                    <a:pt x="94" y="29"/>
                    <a:pt x="91" y="32"/>
                    <a:pt x="88" y="34"/>
                  </a:cubicBezTo>
                  <a:cubicBezTo>
                    <a:pt x="85" y="36"/>
                    <a:pt x="82" y="37"/>
                    <a:pt x="78" y="37"/>
                  </a:cubicBezTo>
                  <a:cubicBezTo>
                    <a:pt x="71" y="38"/>
                    <a:pt x="64" y="36"/>
                    <a:pt x="58" y="34"/>
                  </a:cubicBezTo>
                  <a:cubicBezTo>
                    <a:pt x="45" y="31"/>
                    <a:pt x="33" y="27"/>
                    <a:pt x="23" y="28"/>
                  </a:cubicBezTo>
                  <a:cubicBezTo>
                    <a:pt x="12" y="30"/>
                    <a:pt x="6" y="36"/>
                    <a:pt x="3" y="41"/>
                  </a:cubicBezTo>
                  <a:cubicBezTo>
                    <a:pt x="1" y="43"/>
                    <a:pt x="1" y="45"/>
                    <a:pt x="0" y="47"/>
                  </a:cubicBezTo>
                  <a:cubicBezTo>
                    <a:pt x="0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4" name="Freeform 125">
              <a:extLst>
                <a:ext uri="{FF2B5EF4-FFF2-40B4-BE49-F238E27FC236}">
                  <a16:creationId xmlns:a16="http://schemas.microsoft.com/office/drawing/2014/main" id="{1BA606C0-E1A0-4E36-9D2D-AD2764D07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2" y="3800"/>
              <a:ext cx="121" cy="60"/>
            </a:xfrm>
            <a:custGeom>
              <a:avLst/>
              <a:gdLst>
                <a:gd name="T0" fmla="*/ 51 w 51"/>
                <a:gd name="T1" fmla="*/ 25 h 25"/>
                <a:gd name="T2" fmla="*/ 44 w 51"/>
                <a:gd name="T3" fmla="*/ 20 h 25"/>
                <a:gd name="T4" fmla="*/ 26 w 51"/>
                <a:gd name="T5" fmla="*/ 10 h 25"/>
                <a:gd name="T6" fmla="*/ 8 w 51"/>
                <a:gd name="T7" fmla="*/ 3 h 25"/>
                <a:gd name="T8" fmla="*/ 0 w 51"/>
                <a:gd name="T9" fmla="*/ 0 h 25"/>
                <a:gd name="T10" fmla="*/ 7 w 51"/>
                <a:gd name="T11" fmla="*/ 4 h 25"/>
                <a:gd name="T12" fmla="*/ 26 w 51"/>
                <a:gd name="T13" fmla="*/ 12 h 25"/>
                <a:gd name="T14" fmla="*/ 44 w 51"/>
                <a:gd name="T15" fmla="*/ 21 h 25"/>
                <a:gd name="T16" fmla="*/ 51 w 51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25">
                  <a:moveTo>
                    <a:pt x="51" y="25"/>
                  </a:moveTo>
                  <a:cubicBezTo>
                    <a:pt x="51" y="24"/>
                    <a:pt x="49" y="23"/>
                    <a:pt x="44" y="20"/>
                  </a:cubicBezTo>
                  <a:cubicBezTo>
                    <a:pt x="40" y="17"/>
                    <a:pt x="34" y="14"/>
                    <a:pt x="26" y="10"/>
                  </a:cubicBezTo>
                  <a:cubicBezTo>
                    <a:pt x="19" y="7"/>
                    <a:pt x="13" y="4"/>
                    <a:pt x="8" y="3"/>
                  </a:cubicBezTo>
                  <a:cubicBezTo>
                    <a:pt x="3" y="1"/>
                    <a:pt x="0" y="0"/>
                    <a:pt x="0" y="0"/>
                  </a:cubicBezTo>
                  <a:cubicBezTo>
                    <a:pt x="0" y="1"/>
                    <a:pt x="3" y="2"/>
                    <a:pt x="7" y="4"/>
                  </a:cubicBezTo>
                  <a:cubicBezTo>
                    <a:pt x="12" y="6"/>
                    <a:pt x="19" y="9"/>
                    <a:pt x="26" y="12"/>
                  </a:cubicBezTo>
                  <a:cubicBezTo>
                    <a:pt x="33" y="15"/>
                    <a:pt x="39" y="19"/>
                    <a:pt x="44" y="21"/>
                  </a:cubicBezTo>
                  <a:cubicBezTo>
                    <a:pt x="48" y="23"/>
                    <a:pt x="51" y="25"/>
                    <a:pt x="51" y="2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5" name="Freeform 126">
              <a:extLst>
                <a:ext uri="{FF2B5EF4-FFF2-40B4-BE49-F238E27FC236}">
                  <a16:creationId xmlns:a16="http://schemas.microsoft.com/office/drawing/2014/main" id="{DA5F7E98-41F2-4821-A575-428A73EA1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6" y="3829"/>
              <a:ext cx="128" cy="64"/>
            </a:xfrm>
            <a:custGeom>
              <a:avLst/>
              <a:gdLst>
                <a:gd name="T0" fmla="*/ 54 w 54"/>
                <a:gd name="T1" fmla="*/ 26 h 27"/>
                <a:gd name="T2" fmla="*/ 27 w 54"/>
                <a:gd name="T3" fmla="*/ 12 h 27"/>
                <a:gd name="T4" fmla="*/ 0 w 54"/>
                <a:gd name="T5" fmla="*/ 0 h 27"/>
                <a:gd name="T6" fmla="*/ 27 w 54"/>
                <a:gd name="T7" fmla="*/ 14 h 27"/>
                <a:gd name="T8" fmla="*/ 54 w 54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7">
                  <a:moveTo>
                    <a:pt x="54" y="26"/>
                  </a:moveTo>
                  <a:cubicBezTo>
                    <a:pt x="54" y="26"/>
                    <a:pt x="42" y="20"/>
                    <a:pt x="27" y="12"/>
                  </a:cubicBezTo>
                  <a:cubicBezTo>
                    <a:pt x="13" y="5"/>
                    <a:pt x="0" y="0"/>
                    <a:pt x="0" y="0"/>
                  </a:cubicBezTo>
                  <a:cubicBezTo>
                    <a:pt x="0" y="1"/>
                    <a:pt x="12" y="7"/>
                    <a:pt x="27" y="14"/>
                  </a:cubicBezTo>
                  <a:cubicBezTo>
                    <a:pt x="41" y="21"/>
                    <a:pt x="53" y="27"/>
                    <a:pt x="54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6" name="Freeform 127">
              <a:extLst>
                <a:ext uri="{FF2B5EF4-FFF2-40B4-BE49-F238E27FC236}">
                  <a16:creationId xmlns:a16="http://schemas.microsoft.com/office/drawing/2014/main" id="{720B5F11-F25C-4B9F-BCC0-EBE028B7A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1" y="3810"/>
              <a:ext cx="149" cy="95"/>
            </a:xfrm>
            <a:custGeom>
              <a:avLst/>
              <a:gdLst>
                <a:gd name="T0" fmla="*/ 0 w 63"/>
                <a:gd name="T1" fmla="*/ 40 h 40"/>
                <a:gd name="T2" fmla="*/ 32 w 63"/>
                <a:gd name="T3" fmla="*/ 21 h 40"/>
                <a:gd name="T4" fmla="*/ 63 w 63"/>
                <a:gd name="T5" fmla="*/ 0 h 40"/>
                <a:gd name="T6" fmla="*/ 31 w 63"/>
                <a:gd name="T7" fmla="*/ 19 h 40"/>
                <a:gd name="T8" fmla="*/ 0 w 63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40">
                  <a:moveTo>
                    <a:pt x="0" y="40"/>
                  </a:moveTo>
                  <a:cubicBezTo>
                    <a:pt x="0" y="40"/>
                    <a:pt x="14" y="32"/>
                    <a:pt x="32" y="21"/>
                  </a:cubicBezTo>
                  <a:cubicBezTo>
                    <a:pt x="49" y="10"/>
                    <a:pt x="63" y="1"/>
                    <a:pt x="63" y="0"/>
                  </a:cubicBezTo>
                  <a:cubicBezTo>
                    <a:pt x="63" y="0"/>
                    <a:pt x="48" y="8"/>
                    <a:pt x="31" y="19"/>
                  </a:cubicBezTo>
                  <a:cubicBezTo>
                    <a:pt x="13" y="30"/>
                    <a:pt x="0" y="40"/>
                    <a:pt x="0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7" name="Freeform 128">
              <a:extLst>
                <a:ext uri="{FF2B5EF4-FFF2-40B4-BE49-F238E27FC236}">
                  <a16:creationId xmlns:a16="http://schemas.microsoft.com/office/drawing/2014/main" id="{E0AD1C1C-1896-4B74-BF8D-66804B79E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" y="3793"/>
              <a:ext cx="111" cy="78"/>
            </a:xfrm>
            <a:custGeom>
              <a:avLst/>
              <a:gdLst>
                <a:gd name="T0" fmla="*/ 0 w 47"/>
                <a:gd name="T1" fmla="*/ 33 h 33"/>
                <a:gd name="T2" fmla="*/ 7 w 47"/>
                <a:gd name="T3" fmla="*/ 28 h 33"/>
                <a:gd name="T4" fmla="*/ 23 w 47"/>
                <a:gd name="T5" fmla="*/ 17 h 33"/>
                <a:gd name="T6" fmla="*/ 40 w 47"/>
                <a:gd name="T7" fmla="*/ 5 h 33"/>
                <a:gd name="T8" fmla="*/ 47 w 47"/>
                <a:gd name="T9" fmla="*/ 0 h 33"/>
                <a:gd name="T10" fmla="*/ 39 w 47"/>
                <a:gd name="T11" fmla="*/ 4 h 33"/>
                <a:gd name="T12" fmla="*/ 22 w 47"/>
                <a:gd name="T13" fmla="*/ 15 h 33"/>
                <a:gd name="T14" fmla="*/ 6 w 47"/>
                <a:gd name="T15" fmla="*/ 27 h 33"/>
                <a:gd name="T16" fmla="*/ 0 w 47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3">
                  <a:moveTo>
                    <a:pt x="0" y="33"/>
                  </a:moveTo>
                  <a:cubicBezTo>
                    <a:pt x="0" y="33"/>
                    <a:pt x="2" y="31"/>
                    <a:pt x="7" y="28"/>
                  </a:cubicBezTo>
                  <a:cubicBezTo>
                    <a:pt x="11" y="25"/>
                    <a:pt x="17" y="21"/>
                    <a:pt x="23" y="17"/>
                  </a:cubicBezTo>
                  <a:cubicBezTo>
                    <a:pt x="30" y="12"/>
                    <a:pt x="36" y="8"/>
                    <a:pt x="40" y="5"/>
                  </a:cubicBezTo>
                  <a:cubicBezTo>
                    <a:pt x="44" y="2"/>
                    <a:pt x="47" y="0"/>
                    <a:pt x="47" y="0"/>
                  </a:cubicBezTo>
                  <a:cubicBezTo>
                    <a:pt x="47" y="0"/>
                    <a:pt x="44" y="1"/>
                    <a:pt x="39" y="4"/>
                  </a:cubicBezTo>
                  <a:cubicBezTo>
                    <a:pt x="35" y="7"/>
                    <a:pt x="29" y="11"/>
                    <a:pt x="22" y="15"/>
                  </a:cubicBezTo>
                  <a:cubicBezTo>
                    <a:pt x="16" y="20"/>
                    <a:pt x="10" y="24"/>
                    <a:pt x="6" y="27"/>
                  </a:cubicBezTo>
                  <a:cubicBezTo>
                    <a:pt x="2" y="31"/>
                    <a:pt x="0" y="33"/>
                    <a:pt x="0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8" name="Freeform 129">
              <a:extLst>
                <a:ext uri="{FF2B5EF4-FFF2-40B4-BE49-F238E27FC236}">
                  <a16:creationId xmlns:a16="http://schemas.microsoft.com/office/drawing/2014/main" id="{E579E627-0D2D-4132-A013-A14AB7F88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1565"/>
              <a:ext cx="231" cy="523"/>
            </a:xfrm>
            <a:custGeom>
              <a:avLst/>
              <a:gdLst>
                <a:gd name="T0" fmla="*/ 19 w 97"/>
                <a:gd name="T1" fmla="*/ 63 h 220"/>
                <a:gd name="T2" fmla="*/ 4 w 97"/>
                <a:gd name="T3" fmla="*/ 115 h 220"/>
                <a:gd name="T4" fmla="*/ 21 w 97"/>
                <a:gd name="T5" fmla="*/ 169 h 220"/>
                <a:gd name="T6" fmla="*/ 25 w 97"/>
                <a:gd name="T7" fmla="*/ 201 h 220"/>
                <a:gd name="T8" fmla="*/ 49 w 97"/>
                <a:gd name="T9" fmla="*/ 217 h 220"/>
                <a:gd name="T10" fmla="*/ 64 w 97"/>
                <a:gd name="T11" fmla="*/ 198 h 220"/>
                <a:gd name="T12" fmla="*/ 63 w 97"/>
                <a:gd name="T13" fmla="*/ 171 h 220"/>
                <a:gd name="T14" fmla="*/ 68 w 97"/>
                <a:gd name="T15" fmla="*/ 132 h 220"/>
                <a:gd name="T16" fmla="*/ 83 w 97"/>
                <a:gd name="T17" fmla="*/ 94 h 220"/>
                <a:gd name="T18" fmla="*/ 94 w 97"/>
                <a:gd name="T19" fmla="*/ 42 h 220"/>
                <a:gd name="T20" fmla="*/ 92 w 97"/>
                <a:gd name="T21" fmla="*/ 14 h 220"/>
                <a:gd name="T22" fmla="*/ 65 w 97"/>
                <a:gd name="T23" fmla="*/ 1 h 220"/>
                <a:gd name="T24" fmla="*/ 37 w 97"/>
                <a:gd name="T25" fmla="*/ 16 h 220"/>
                <a:gd name="T26" fmla="*/ 18 w 97"/>
                <a:gd name="T27" fmla="*/ 6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220">
                  <a:moveTo>
                    <a:pt x="19" y="63"/>
                  </a:moveTo>
                  <a:cubicBezTo>
                    <a:pt x="3" y="73"/>
                    <a:pt x="0" y="96"/>
                    <a:pt x="4" y="115"/>
                  </a:cubicBezTo>
                  <a:cubicBezTo>
                    <a:pt x="9" y="133"/>
                    <a:pt x="18" y="150"/>
                    <a:pt x="21" y="169"/>
                  </a:cubicBezTo>
                  <a:cubicBezTo>
                    <a:pt x="22" y="180"/>
                    <a:pt x="22" y="191"/>
                    <a:pt x="25" y="201"/>
                  </a:cubicBezTo>
                  <a:cubicBezTo>
                    <a:pt x="29" y="211"/>
                    <a:pt x="39" y="220"/>
                    <a:pt x="49" y="217"/>
                  </a:cubicBezTo>
                  <a:cubicBezTo>
                    <a:pt x="58" y="216"/>
                    <a:pt x="63" y="207"/>
                    <a:pt x="64" y="198"/>
                  </a:cubicBezTo>
                  <a:cubicBezTo>
                    <a:pt x="66" y="189"/>
                    <a:pt x="64" y="180"/>
                    <a:pt x="63" y="171"/>
                  </a:cubicBezTo>
                  <a:cubicBezTo>
                    <a:pt x="62" y="158"/>
                    <a:pt x="64" y="144"/>
                    <a:pt x="68" y="132"/>
                  </a:cubicBezTo>
                  <a:cubicBezTo>
                    <a:pt x="72" y="119"/>
                    <a:pt x="79" y="107"/>
                    <a:pt x="83" y="94"/>
                  </a:cubicBezTo>
                  <a:cubicBezTo>
                    <a:pt x="89" y="78"/>
                    <a:pt x="92" y="60"/>
                    <a:pt x="94" y="42"/>
                  </a:cubicBezTo>
                  <a:cubicBezTo>
                    <a:pt x="95" y="33"/>
                    <a:pt x="97" y="23"/>
                    <a:pt x="92" y="14"/>
                  </a:cubicBezTo>
                  <a:cubicBezTo>
                    <a:pt x="87" y="5"/>
                    <a:pt x="76" y="0"/>
                    <a:pt x="65" y="1"/>
                  </a:cubicBezTo>
                  <a:cubicBezTo>
                    <a:pt x="54" y="2"/>
                    <a:pt x="44" y="8"/>
                    <a:pt x="37" y="16"/>
                  </a:cubicBezTo>
                  <a:cubicBezTo>
                    <a:pt x="24" y="29"/>
                    <a:pt x="17" y="48"/>
                    <a:pt x="18" y="6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9" name="Freeform 130">
              <a:extLst>
                <a:ext uri="{FF2B5EF4-FFF2-40B4-BE49-F238E27FC236}">
                  <a16:creationId xmlns:a16="http://schemas.microsoft.com/office/drawing/2014/main" id="{1D136C6C-CDB0-402F-AB70-E3A0F6AFA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4" y="2021"/>
              <a:ext cx="150" cy="150"/>
            </a:xfrm>
            <a:custGeom>
              <a:avLst/>
              <a:gdLst>
                <a:gd name="T0" fmla="*/ 52 w 63"/>
                <a:gd name="T1" fmla="*/ 26 h 63"/>
                <a:gd name="T2" fmla="*/ 34 w 63"/>
                <a:gd name="T3" fmla="*/ 13 h 63"/>
                <a:gd name="T4" fmla="*/ 19 w 63"/>
                <a:gd name="T5" fmla="*/ 3 h 63"/>
                <a:gd name="T6" fmla="*/ 2 w 63"/>
                <a:gd name="T7" fmla="*/ 9 h 63"/>
                <a:gd name="T8" fmla="*/ 8 w 63"/>
                <a:gd name="T9" fmla="*/ 24 h 63"/>
                <a:gd name="T10" fmla="*/ 21 w 63"/>
                <a:gd name="T11" fmla="*/ 35 h 63"/>
                <a:gd name="T12" fmla="*/ 29 w 63"/>
                <a:gd name="T13" fmla="*/ 49 h 63"/>
                <a:gd name="T14" fmla="*/ 40 w 63"/>
                <a:gd name="T15" fmla="*/ 60 h 63"/>
                <a:gd name="T16" fmla="*/ 61 w 63"/>
                <a:gd name="T17" fmla="*/ 48 h 63"/>
                <a:gd name="T18" fmla="*/ 52 w 63"/>
                <a:gd name="T19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52" y="26"/>
                  </a:moveTo>
                  <a:cubicBezTo>
                    <a:pt x="47" y="21"/>
                    <a:pt x="41" y="16"/>
                    <a:pt x="34" y="13"/>
                  </a:cubicBezTo>
                  <a:cubicBezTo>
                    <a:pt x="29" y="8"/>
                    <a:pt x="25" y="5"/>
                    <a:pt x="19" y="3"/>
                  </a:cubicBezTo>
                  <a:cubicBezTo>
                    <a:pt x="13" y="0"/>
                    <a:pt x="4" y="2"/>
                    <a:pt x="2" y="9"/>
                  </a:cubicBezTo>
                  <a:cubicBezTo>
                    <a:pt x="0" y="14"/>
                    <a:pt x="3" y="20"/>
                    <a:pt x="8" y="24"/>
                  </a:cubicBezTo>
                  <a:cubicBezTo>
                    <a:pt x="12" y="28"/>
                    <a:pt x="17" y="31"/>
                    <a:pt x="21" y="35"/>
                  </a:cubicBezTo>
                  <a:cubicBezTo>
                    <a:pt x="25" y="39"/>
                    <a:pt x="27" y="44"/>
                    <a:pt x="29" y="49"/>
                  </a:cubicBezTo>
                  <a:cubicBezTo>
                    <a:pt x="32" y="53"/>
                    <a:pt x="35" y="58"/>
                    <a:pt x="40" y="60"/>
                  </a:cubicBezTo>
                  <a:cubicBezTo>
                    <a:pt x="49" y="63"/>
                    <a:pt x="59" y="56"/>
                    <a:pt x="61" y="48"/>
                  </a:cubicBezTo>
                  <a:cubicBezTo>
                    <a:pt x="63" y="39"/>
                    <a:pt x="59" y="32"/>
                    <a:pt x="52" y="26"/>
                  </a:cubicBez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0" name="Freeform 131">
              <a:extLst>
                <a:ext uri="{FF2B5EF4-FFF2-40B4-BE49-F238E27FC236}">
                  <a16:creationId xmlns:a16="http://schemas.microsoft.com/office/drawing/2014/main" id="{D5A93431-EAFA-48B1-BFD2-2AA0B51CF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2035"/>
              <a:ext cx="40" cy="43"/>
            </a:xfrm>
            <a:custGeom>
              <a:avLst/>
              <a:gdLst>
                <a:gd name="T0" fmla="*/ 16 w 17"/>
                <a:gd name="T1" fmla="*/ 1 h 18"/>
                <a:gd name="T2" fmla="*/ 6 w 17"/>
                <a:gd name="T3" fmla="*/ 7 h 18"/>
                <a:gd name="T4" fmla="*/ 1 w 17"/>
                <a:gd name="T5" fmla="*/ 15 h 18"/>
                <a:gd name="T6" fmla="*/ 0 w 17"/>
                <a:gd name="T7" fmla="*/ 18 h 18"/>
                <a:gd name="T8" fmla="*/ 0 w 17"/>
                <a:gd name="T9" fmla="*/ 14 h 18"/>
                <a:gd name="T10" fmla="*/ 4 w 17"/>
                <a:gd name="T11" fmla="*/ 6 h 18"/>
                <a:gd name="T12" fmla="*/ 12 w 17"/>
                <a:gd name="T13" fmla="*/ 1 h 18"/>
                <a:gd name="T14" fmla="*/ 16 w 17"/>
                <a:gd name="T15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"/>
                    <a:pt x="10" y="2"/>
                    <a:pt x="6" y="7"/>
                  </a:cubicBezTo>
                  <a:cubicBezTo>
                    <a:pt x="3" y="9"/>
                    <a:pt x="2" y="12"/>
                    <a:pt x="1" y="15"/>
                  </a:cubicBezTo>
                  <a:cubicBezTo>
                    <a:pt x="1" y="17"/>
                    <a:pt x="1" y="18"/>
                    <a:pt x="0" y="18"/>
                  </a:cubicBezTo>
                  <a:cubicBezTo>
                    <a:pt x="0" y="18"/>
                    <a:pt x="0" y="17"/>
                    <a:pt x="0" y="14"/>
                  </a:cubicBezTo>
                  <a:cubicBezTo>
                    <a:pt x="0" y="12"/>
                    <a:pt x="1" y="8"/>
                    <a:pt x="4" y="6"/>
                  </a:cubicBezTo>
                  <a:cubicBezTo>
                    <a:pt x="7" y="3"/>
                    <a:pt x="10" y="1"/>
                    <a:pt x="12" y="1"/>
                  </a:cubicBezTo>
                  <a:cubicBezTo>
                    <a:pt x="15" y="0"/>
                    <a:pt x="16" y="0"/>
                    <a:pt x="1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1" name="Freeform 132">
              <a:extLst>
                <a:ext uri="{FF2B5EF4-FFF2-40B4-BE49-F238E27FC236}">
                  <a16:creationId xmlns:a16="http://schemas.microsoft.com/office/drawing/2014/main" id="{3D6C1E72-9D33-4128-9198-BEAFEE503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" y="2054"/>
              <a:ext cx="43" cy="41"/>
            </a:xfrm>
            <a:custGeom>
              <a:avLst/>
              <a:gdLst>
                <a:gd name="T0" fmla="*/ 18 w 18"/>
                <a:gd name="T1" fmla="*/ 1 h 17"/>
                <a:gd name="T2" fmla="*/ 15 w 18"/>
                <a:gd name="T3" fmla="*/ 2 h 17"/>
                <a:gd name="T4" fmla="*/ 8 w 18"/>
                <a:gd name="T5" fmla="*/ 7 h 17"/>
                <a:gd name="T6" fmla="*/ 1 w 18"/>
                <a:gd name="T7" fmla="*/ 17 h 17"/>
                <a:gd name="T8" fmla="*/ 7 w 18"/>
                <a:gd name="T9" fmla="*/ 6 h 17"/>
                <a:gd name="T10" fmla="*/ 14 w 18"/>
                <a:gd name="T11" fmla="*/ 0 h 17"/>
                <a:gd name="T12" fmla="*/ 18 w 18"/>
                <a:gd name="T1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18" y="1"/>
                  </a:moveTo>
                  <a:cubicBezTo>
                    <a:pt x="18" y="1"/>
                    <a:pt x="16" y="1"/>
                    <a:pt x="15" y="2"/>
                  </a:cubicBezTo>
                  <a:cubicBezTo>
                    <a:pt x="13" y="3"/>
                    <a:pt x="10" y="5"/>
                    <a:pt x="8" y="7"/>
                  </a:cubicBezTo>
                  <a:cubicBezTo>
                    <a:pt x="3" y="12"/>
                    <a:pt x="1" y="17"/>
                    <a:pt x="1" y="17"/>
                  </a:cubicBezTo>
                  <a:cubicBezTo>
                    <a:pt x="0" y="17"/>
                    <a:pt x="2" y="11"/>
                    <a:pt x="7" y="6"/>
                  </a:cubicBezTo>
                  <a:cubicBezTo>
                    <a:pt x="9" y="3"/>
                    <a:pt x="12" y="1"/>
                    <a:pt x="14" y="0"/>
                  </a:cubicBezTo>
                  <a:cubicBezTo>
                    <a:pt x="17" y="0"/>
                    <a:pt x="18" y="1"/>
                    <a:pt x="1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2" name="Freeform 133">
              <a:extLst>
                <a:ext uri="{FF2B5EF4-FFF2-40B4-BE49-F238E27FC236}">
                  <a16:creationId xmlns:a16="http://schemas.microsoft.com/office/drawing/2014/main" id="{6F20DFC6-34E2-472F-8F46-FAC597F95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1" y="2071"/>
              <a:ext cx="52" cy="43"/>
            </a:xfrm>
            <a:custGeom>
              <a:avLst/>
              <a:gdLst>
                <a:gd name="T0" fmla="*/ 22 w 22"/>
                <a:gd name="T1" fmla="*/ 1 h 18"/>
                <a:gd name="T2" fmla="*/ 21 w 22"/>
                <a:gd name="T3" fmla="*/ 5 h 18"/>
                <a:gd name="T4" fmla="*/ 15 w 22"/>
                <a:gd name="T5" fmla="*/ 14 h 18"/>
                <a:gd name="T6" fmla="*/ 5 w 22"/>
                <a:gd name="T7" fmla="*/ 18 h 18"/>
                <a:gd name="T8" fmla="*/ 0 w 22"/>
                <a:gd name="T9" fmla="*/ 18 h 18"/>
                <a:gd name="T10" fmla="*/ 13 w 22"/>
                <a:gd name="T11" fmla="*/ 12 h 18"/>
                <a:gd name="T12" fmla="*/ 22 w 22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8">
                  <a:moveTo>
                    <a:pt x="22" y="1"/>
                  </a:moveTo>
                  <a:cubicBezTo>
                    <a:pt x="22" y="1"/>
                    <a:pt x="22" y="2"/>
                    <a:pt x="21" y="5"/>
                  </a:cubicBezTo>
                  <a:cubicBezTo>
                    <a:pt x="20" y="8"/>
                    <a:pt x="18" y="11"/>
                    <a:pt x="15" y="14"/>
                  </a:cubicBezTo>
                  <a:cubicBezTo>
                    <a:pt x="11" y="16"/>
                    <a:pt x="7" y="18"/>
                    <a:pt x="5" y="18"/>
                  </a:cubicBezTo>
                  <a:cubicBezTo>
                    <a:pt x="2" y="18"/>
                    <a:pt x="0" y="18"/>
                    <a:pt x="0" y="18"/>
                  </a:cubicBezTo>
                  <a:cubicBezTo>
                    <a:pt x="0" y="17"/>
                    <a:pt x="7" y="17"/>
                    <a:pt x="13" y="12"/>
                  </a:cubicBezTo>
                  <a:cubicBezTo>
                    <a:pt x="20" y="7"/>
                    <a:pt x="21" y="0"/>
                    <a:pt x="2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3" name="Freeform 134">
              <a:extLst>
                <a:ext uri="{FF2B5EF4-FFF2-40B4-BE49-F238E27FC236}">
                  <a16:creationId xmlns:a16="http://schemas.microsoft.com/office/drawing/2014/main" id="{5AE5406E-1CB0-4092-8CED-79F22727D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5" y="2097"/>
              <a:ext cx="64" cy="48"/>
            </a:xfrm>
            <a:custGeom>
              <a:avLst/>
              <a:gdLst>
                <a:gd name="T0" fmla="*/ 26 w 27"/>
                <a:gd name="T1" fmla="*/ 0 h 20"/>
                <a:gd name="T2" fmla="*/ 26 w 27"/>
                <a:gd name="T3" fmla="*/ 5 h 20"/>
                <a:gd name="T4" fmla="*/ 18 w 27"/>
                <a:gd name="T5" fmla="*/ 16 h 20"/>
                <a:gd name="T6" fmla="*/ 5 w 27"/>
                <a:gd name="T7" fmla="*/ 19 h 20"/>
                <a:gd name="T8" fmla="*/ 0 w 27"/>
                <a:gd name="T9" fmla="*/ 18 h 20"/>
                <a:gd name="T10" fmla="*/ 5 w 27"/>
                <a:gd name="T11" fmla="*/ 18 h 20"/>
                <a:gd name="T12" fmla="*/ 17 w 27"/>
                <a:gd name="T13" fmla="*/ 14 h 20"/>
                <a:gd name="T14" fmla="*/ 24 w 27"/>
                <a:gd name="T15" fmla="*/ 5 h 20"/>
                <a:gd name="T16" fmla="*/ 26 w 27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0">
                  <a:moveTo>
                    <a:pt x="26" y="0"/>
                  </a:moveTo>
                  <a:cubicBezTo>
                    <a:pt x="26" y="0"/>
                    <a:pt x="27" y="2"/>
                    <a:pt x="26" y="5"/>
                  </a:cubicBezTo>
                  <a:cubicBezTo>
                    <a:pt x="25" y="9"/>
                    <a:pt x="22" y="13"/>
                    <a:pt x="18" y="16"/>
                  </a:cubicBezTo>
                  <a:cubicBezTo>
                    <a:pt x="13" y="19"/>
                    <a:pt x="9" y="20"/>
                    <a:pt x="5" y="19"/>
                  </a:cubicBezTo>
                  <a:cubicBezTo>
                    <a:pt x="2" y="19"/>
                    <a:pt x="0" y="18"/>
                    <a:pt x="0" y="18"/>
                  </a:cubicBezTo>
                  <a:cubicBezTo>
                    <a:pt x="0" y="18"/>
                    <a:pt x="2" y="18"/>
                    <a:pt x="5" y="18"/>
                  </a:cubicBezTo>
                  <a:cubicBezTo>
                    <a:pt x="8" y="18"/>
                    <a:pt x="13" y="17"/>
                    <a:pt x="17" y="14"/>
                  </a:cubicBezTo>
                  <a:cubicBezTo>
                    <a:pt x="20" y="11"/>
                    <a:pt x="23" y="8"/>
                    <a:pt x="24" y="5"/>
                  </a:cubicBezTo>
                  <a:cubicBezTo>
                    <a:pt x="26" y="2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4" name="Freeform 135">
              <a:extLst>
                <a:ext uri="{FF2B5EF4-FFF2-40B4-BE49-F238E27FC236}">
                  <a16:creationId xmlns:a16="http://schemas.microsoft.com/office/drawing/2014/main" id="{65668124-9210-4A9B-BCB2-DC48E4D32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" y="1520"/>
              <a:ext cx="359" cy="587"/>
            </a:xfrm>
            <a:custGeom>
              <a:avLst/>
              <a:gdLst>
                <a:gd name="T0" fmla="*/ 0 w 151"/>
                <a:gd name="T1" fmla="*/ 30 h 247"/>
                <a:gd name="T2" fmla="*/ 53 w 151"/>
                <a:gd name="T3" fmla="*/ 1 h 247"/>
                <a:gd name="T4" fmla="*/ 103 w 151"/>
                <a:gd name="T5" fmla="*/ 26 h 247"/>
                <a:gd name="T6" fmla="*/ 112 w 151"/>
                <a:gd name="T7" fmla="*/ 54 h 247"/>
                <a:gd name="T8" fmla="*/ 139 w 151"/>
                <a:gd name="T9" fmla="*/ 104 h 247"/>
                <a:gd name="T10" fmla="*/ 120 w 151"/>
                <a:gd name="T11" fmla="*/ 202 h 247"/>
                <a:gd name="T12" fmla="*/ 76 w 151"/>
                <a:gd name="T13" fmla="*/ 246 h 247"/>
                <a:gd name="T14" fmla="*/ 35 w 151"/>
                <a:gd name="T15" fmla="*/ 231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247">
                  <a:moveTo>
                    <a:pt x="0" y="30"/>
                  </a:moveTo>
                  <a:cubicBezTo>
                    <a:pt x="13" y="8"/>
                    <a:pt x="33" y="2"/>
                    <a:pt x="53" y="1"/>
                  </a:cubicBezTo>
                  <a:cubicBezTo>
                    <a:pt x="73" y="0"/>
                    <a:pt x="94" y="8"/>
                    <a:pt x="103" y="26"/>
                  </a:cubicBezTo>
                  <a:cubicBezTo>
                    <a:pt x="108" y="35"/>
                    <a:pt x="109" y="44"/>
                    <a:pt x="112" y="54"/>
                  </a:cubicBezTo>
                  <a:cubicBezTo>
                    <a:pt x="118" y="72"/>
                    <a:pt x="133" y="86"/>
                    <a:pt x="139" y="104"/>
                  </a:cubicBezTo>
                  <a:cubicBezTo>
                    <a:pt x="151" y="136"/>
                    <a:pt x="135" y="171"/>
                    <a:pt x="120" y="202"/>
                  </a:cubicBezTo>
                  <a:cubicBezTo>
                    <a:pt x="111" y="221"/>
                    <a:pt x="98" y="243"/>
                    <a:pt x="76" y="246"/>
                  </a:cubicBezTo>
                  <a:cubicBezTo>
                    <a:pt x="61" y="247"/>
                    <a:pt x="47" y="239"/>
                    <a:pt x="35" y="23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5" name="Freeform 136">
              <a:extLst>
                <a:ext uri="{FF2B5EF4-FFF2-40B4-BE49-F238E27FC236}">
                  <a16:creationId xmlns:a16="http://schemas.microsoft.com/office/drawing/2014/main" id="{3F1FD287-7643-4E5D-939A-8FBCA111D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" y="1631"/>
              <a:ext cx="399" cy="820"/>
            </a:xfrm>
            <a:custGeom>
              <a:avLst/>
              <a:gdLst>
                <a:gd name="T0" fmla="*/ 6 w 168"/>
                <a:gd name="T1" fmla="*/ 10 h 345"/>
                <a:gd name="T2" fmla="*/ 6 w 168"/>
                <a:gd name="T3" fmla="*/ 27 h 345"/>
                <a:gd name="T4" fmla="*/ 1 w 168"/>
                <a:gd name="T5" fmla="*/ 288 h 345"/>
                <a:gd name="T6" fmla="*/ 62 w 168"/>
                <a:gd name="T7" fmla="*/ 344 h 345"/>
                <a:gd name="T8" fmla="*/ 109 w 168"/>
                <a:gd name="T9" fmla="*/ 289 h 345"/>
                <a:gd name="T10" fmla="*/ 111 w 168"/>
                <a:gd name="T11" fmla="*/ 224 h 345"/>
                <a:gd name="T12" fmla="*/ 163 w 168"/>
                <a:gd name="T13" fmla="*/ 164 h 345"/>
                <a:gd name="T14" fmla="*/ 166 w 168"/>
                <a:gd name="T15" fmla="*/ 57 h 345"/>
                <a:gd name="T16" fmla="*/ 105 w 168"/>
                <a:gd name="T17" fmla="*/ 3 h 345"/>
                <a:gd name="T18" fmla="*/ 6 w 168"/>
                <a:gd name="T19" fmla="*/ 1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345">
                  <a:moveTo>
                    <a:pt x="6" y="10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1" y="288"/>
                    <a:pt x="1" y="288"/>
                    <a:pt x="1" y="288"/>
                  </a:cubicBezTo>
                  <a:cubicBezTo>
                    <a:pt x="0" y="318"/>
                    <a:pt x="29" y="344"/>
                    <a:pt x="62" y="344"/>
                  </a:cubicBezTo>
                  <a:cubicBezTo>
                    <a:pt x="94" y="345"/>
                    <a:pt x="108" y="320"/>
                    <a:pt x="109" y="289"/>
                  </a:cubicBezTo>
                  <a:cubicBezTo>
                    <a:pt x="110" y="257"/>
                    <a:pt x="111" y="224"/>
                    <a:pt x="111" y="224"/>
                  </a:cubicBezTo>
                  <a:cubicBezTo>
                    <a:pt x="111" y="224"/>
                    <a:pt x="153" y="218"/>
                    <a:pt x="163" y="164"/>
                  </a:cubicBezTo>
                  <a:cubicBezTo>
                    <a:pt x="168" y="137"/>
                    <a:pt x="168" y="93"/>
                    <a:pt x="166" y="57"/>
                  </a:cubicBezTo>
                  <a:cubicBezTo>
                    <a:pt x="165" y="25"/>
                    <a:pt x="137" y="0"/>
                    <a:pt x="105" y="3"/>
                  </a:cubicBezTo>
                  <a:lnTo>
                    <a:pt x="6" y="1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6" name="Freeform 137">
              <a:extLst>
                <a:ext uri="{FF2B5EF4-FFF2-40B4-BE49-F238E27FC236}">
                  <a16:creationId xmlns:a16="http://schemas.microsoft.com/office/drawing/2014/main" id="{697DEAAE-64E6-4369-BC1D-7BF8263AC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836"/>
              <a:ext cx="33" cy="31"/>
            </a:xfrm>
            <a:custGeom>
              <a:avLst/>
              <a:gdLst>
                <a:gd name="T0" fmla="*/ 14 w 14"/>
                <a:gd name="T1" fmla="*/ 6 h 13"/>
                <a:gd name="T2" fmla="*/ 7 w 14"/>
                <a:gd name="T3" fmla="*/ 13 h 13"/>
                <a:gd name="T4" fmla="*/ 0 w 14"/>
                <a:gd name="T5" fmla="*/ 6 h 13"/>
                <a:gd name="T6" fmla="*/ 7 w 14"/>
                <a:gd name="T7" fmla="*/ 0 h 13"/>
                <a:gd name="T8" fmla="*/ 14 w 14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14" y="6"/>
                  </a:moveTo>
                  <a:cubicBezTo>
                    <a:pt x="14" y="10"/>
                    <a:pt x="11" y="13"/>
                    <a:pt x="7" y="13"/>
                  </a:cubicBezTo>
                  <a:cubicBezTo>
                    <a:pt x="4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2"/>
                    <a:pt x="14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7" name="Freeform 138">
              <a:extLst>
                <a:ext uri="{FF2B5EF4-FFF2-40B4-BE49-F238E27FC236}">
                  <a16:creationId xmlns:a16="http://schemas.microsoft.com/office/drawing/2014/main" id="{F660579B-D678-48D0-BDFE-470875057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" y="1803"/>
              <a:ext cx="67" cy="21"/>
            </a:xfrm>
            <a:custGeom>
              <a:avLst/>
              <a:gdLst>
                <a:gd name="T0" fmla="*/ 27 w 28"/>
                <a:gd name="T1" fmla="*/ 8 h 9"/>
                <a:gd name="T2" fmla="*/ 14 w 28"/>
                <a:gd name="T3" fmla="*/ 5 h 9"/>
                <a:gd name="T4" fmla="*/ 0 w 28"/>
                <a:gd name="T5" fmla="*/ 7 h 9"/>
                <a:gd name="T6" fmla="*/ 3 w 28"/>
                <a:gd name="T7" fmla="*/ 3 h 9"/>
                <a:gd name="T8" fmla="*/ 14 w 28"/>
                <a:gd name="T9" fmla="*/ 0 h 9"/>
                <a:gd name="T10" fmla="*/ 25 w 28"/>
                <a:gd name="T11" fmla="*/ 4 h 9"/>
                <a:gd name="T12" fmla="*/ 27 w 28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9">
                  <a:moveTo>
                    <a:pt x="27" y="8"/>
                  </a:moveTo>
                  <a:cubicBezTo>
                    <a:pt x="26" y="9"/>
                    <a:pt x="21" y="5"/>
                    <a:pt x="14" y="5"/>
                  </a:cubicBezTo>
                  <a:cubicBezTo>
                    <a:pt x="6" y="4"/>
                    <a:pt x="1" y="8"/>
                    <a:pt x="0" y="7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2"/>
                    <a:pt x="9" y="0"/>
                    <a:pt x="14" y="0"/>
                  </a:cubicBezTo>
                  <a:cubicBezTo>
                    <a:pt x="19" y="1"/>
                    <a:pt x="23" y="2"/>
                    <a:pt x="25" y="4"/>
                  </a:cubicBezTo>
                  <a:cubicBezTo>
                    <a:pt x="27" y="6"/>
                    <a:pt x="28" y="8"/>
                    <a:pt x="27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8" name="Freeform 139">
              <a:extLst>
                <a:ext uri="{FF2B5EF4-FFF2-40B4-BE49-F238E27FC236}">
                  <a16:creationId xmlns:a16="http://schemas.microsoft.com/office/drawing/2014/main" id="{4F77F895-7B80-4FF6-AD18-2CE755844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" y="1836"/>
              <a:ext cx="34" cy="31"/>
            </a:xfrm>
            <a:custGeom>
              <a:avLst/>
              <a:gdLst>
                <a:gd name="T0" fmla="*/ 14 w 14"/>
                <a:gd name="T1" fmla="*/ 6 h 13"/>
                <a:gd name="T2" fmla="*/ 7 w 14"/>
                <a:gd name="T3" fmla="*/ 13 h 13"/>
                <a:gd name="T4" fmla="*/ 0 w 14"/>
                <a:gd name="T5" fmla="*/ 6 h 13"/>
                <a:gd name="T6" fmla="*/ 7 w 14"/>
                <a:gd name="T7" fmla="*/ 0 h 13"/>
                <a:gd name="T8" fmla="*/ 14 w 14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14" y="6"/>
                  </a:moveTo>
                  <a:cubicBezTo>
                    <a:pt x="14" y="10"/>
                    <a:pt x="11" y="13"/>
                    <a:pt x="7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2"/>
                    <a:pt x="14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9" name="Freeform 140">
              <a:extLst>
                <a:ext uri="{FF2B5EF4-FFF2-40B4-BE49-F238E27FC236}">
                  <a16:creationId xmlns:a16="http://schemas.microsoft.com/office/drawing/2014/main" id="{DEECF5D4-3849-4A20-946F-4450AEAD4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1803"/>
              <a:ext cx="66" cy="19"/>
            </a:xfrm>
            <a:custGeom>
              <a:avLst/>
              <a:gdLst>
                <a:gd name="T0" fmla="*/ 28 w 28"/>
                <a:gd name="T1" fmla="*/ 7 h 8"/>
                <a:gd name="T2" fmla="*/ 15 w 28"/>
                <a:gd name="T3" fmla="*/ 4 h 8"/>
                <a:gd name="T4" fmla="*/ 1 w 28"/>
                <a:gd name="T5" fmla="*/ 7 h 8"/>
                <a:gd name="T6" fmla="*/ 4 w 28"/>
                <a:gd name="T7" fmla="*/ 3 h 8"/>
                <a:gd name="T8" fmla="*/ 15 w 28"/>
                <a:gd name="T9" fmla="*/ 0 h 8"/>
                <a:gd name="T10" fmla="*/ 26 w 28"/>
                <a:gd name="T11" fmla="*/ 4 h 8"/>
                <a:gd name="T12" fmla="*/ 28 w 28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8">
                  <a:moveTo>
                    <a:pt x="28" y="7"/>
                  </a:moveTo>
                  <a:cubicBezTo>
                    <a:pt x="27" y="8"/>
                    <a:pt x="22" y="4"/>
                    <a:pt x="15" y="4"/>
                  </a:cubicBezTo>
                  <a:cubicBezTo>
                    <a:pt x="7" y="4"/>
                    <a:pt x="2" y="7"/>
                    <a:pt x="1" y="7"/>
                  </a:cubicBezTo>
                  <a:cubicBezTo>
                    <a:pt x="0" y="6"/>
                    <a:pt x="1" y="4"/>
                    <a:pt x="4" y="3"/>
                  </a:cubicBezTo>
                  <a:cubicBezTo>
                    <a:pt x="6" y="1"/>
                    <a:pt x="10" y="0"/>
                    <a:pt x="15" y="0"/>
                  </a:cubicBezTo>
                  <a:cubicBezTo>
                    <a:pt x="19" y="0"/>
                    <a:pt x="23" y="2"/>
                    <a:pt x="26" y="4"/>
                  </a:cubicBezTo>
                  <a:cubicBezTo>
                    <a:pt x="28" y="5"/>
                    <a:pt x="28" y="7"/>
                    <a:pt x="28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0" name="Freeform 141">
              <a:extLst>
                <a:ext uri="{FF2B5EF4-FFF2-40B4-BE49-F238E27FC236}">
                  <a16:creationId xmlns:a16="http://schemas.microsoft.com/office/drawing/2014/main" id="{B48C1990-A04F-473C-BFE4-2B617EF6D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" y="1805"/>
              <a:ext cx="52" cy="150"/>
            </a:xfrm>
            <a:custGeom>
              <a:avLst/>
              <a:gdLst>
                <a:gd name="T0" fmla="*/ 3 w 22"/>
                <a:gd name="T1" fmla="*/ 62 h 63"/>
                <a:gd name="T2" fmla="*/ 15 w 22"/>
                <a:gd name="T3" fmla="*/ 60 h 63"/>
                <a:gd name="T4" fmla="*/ 19 w 22"/>
                <a:gd name="T5" fmla="*/ 59 h 63"/>
                <a:gd name="T6" fmla="*/ 18 w 22"/>
                <a:gd name="T7" fmla="*/ 53 h 63"/>
                <a:gd name="T8" fmla="*/ 12 w 22"/>
                <a:gd name="T9" fmla="*/ 38 h 63"/>
                <a:gd name="T10" fmla="*/ 1 w 22"/>
                <a:gd name="T11" fmla="*/ 0 h 63"/>
                <a:gd name="T12" fmla="*/ 15 w 22"/>
                <a:gd name="T13" fmla="*/ 37 h 63"/>
                <a:gd name="T14" fmla="*/ 20 w 22"/>
                <a:gd name="T15" fmla="*/ 52 h 63"/>
                <a:gd name="T16" fmla="*/ 21 w 22"/>
                <a:gd name="T17" fmla="*/ 60 h 63"/>
                <a:gd name="T18" fmla="*/ 18 w 22"/>
                <a:gd name="T19" fmla="*/ 62 h 63"/>
                <a:gd name="T20" fmla="*/ 15 w 22"/>
                <a:gd name="T21" fmla="*/ 63 h 63"/>
                <a:gd name="T22" fmla="*/ 3 w 22"/>
                <a:gd name="T2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63">
                  <a:moveTo>
                    <a:pt x="3" y="62"/>
                  </a:moveTo>
                  <a:cubicBezTo>
                    <a:pt x="3" y="62"/>
                    <a:pt x="7" y="61"/>
                    <a:pt x="15" y="60"/>
                  </a:cubicBezTo>
                  <a:cubicBezTo>
                    <a:pt x="17" y="60"/>
                    <a:pt x="18" y="60"/>
                    <a:pt x="19" y="59"/>
                  </a:cubicBezTo>
                  <a:cubicBezTo>
                    <a:pt x="19" y="57"/>
                    <a:pt x="19" y="55"/>
                    <a:pt x="18" y="53"/>
                  </a:cubicBezTo>
                  <a:cubicBezTo>
                    <a:pt x="16" y="48"/>
                    <a:pt x="14" y="44"/>
                    <a:pt x="12" y="38"/>
                  </a:cubicBezTo>
                  <a:cubicBezTo>
                    <a:pt x="5" y="18"/>
                    <a:pt x="0" y="1"/>
                    <a:pt x="1" y="0"/>
                  </a:cubicBezTo>
                  <a:cubicBezTo>
                    <a:pt x="2" y="0"/>
                    <a:pt x="8" y="17"/>
                    <a:pt x="15" y="37"/>
                  </a:cubicBezTo>
                  <a:cubicBezTo>
                    <a:pt x="17" y="43"/>
                    <a:pt x="19" y="47"/>
                    <a:pt x="20" y="52"/>
                  </a:cubicBezTo>
                  <a:cubicBezTo>
                    <a:pt x="21" y="54"/>
                    <a:pt x="22" y="57"/>
                    <a:pt x="21" y="60"/>
                  </a:cubicBezTo>
                  <a:cubicBezTo>
                    <a:pt x="21" y="61"/>
                    <a:pt x="19" y="62"/>
                    <a:pt x="18" y="62"/>
                  </a:cubicBezTo>
                  <a:cubicBezTo>
                    <a:pt x="17" y="63"/>
                    <a:pt x="16" y="63"/>
                    <a:pt x="15" y="63"/>
                  </a:cubicBezTo>
                  <a:cubicBezTo>
                    <a:pt x="7" y="63"/>
                    <a:pt x="3" y="63"/>
                    <a:pt x="3" y="6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1" name="Freeform 142">
              <a:extLst>
                <a:ext uri="{FF2B5EF4-FFF2-40B4-BE49-F238E27FC236}">
                  <a16:creationId xmlns:a16="http://schemas.microsoft.com/office/drawing/2014/main" id="{68E81DEE-E938-4F85-A9AC-D467325B2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" y="2111"/>
              <a:ext cx="169" cy="91"/>
            </a:xfrm>
            <a:custGeom>
              <a:avLst/>
              <a:gdLst>
                <a:gd name="T0" fmla="*/ 71 w 71"/>
                <a:gd name="T1" fmla="*/ 22 h 38"/>
                <a:gd name="T2" fmla="*/ 0 w 71"/>
                <a:gd name="T3" fmla="*/ 0 h 38"/>
                <a:gd name="T4" fmla="*/ 70 w 71"/>
                <a:gd name="T5" fmla="*/ 34 h 38"/>
                <a:gd name="T6" fmla="*/ 71 w 71"/>
                <a:gd name="T7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38">
                  <a:moveTo>
                    <a:pt x="71" y="22"/>
                  </a:moveTo>
                  <a:cubicBezTo>
                    <a:pt x="71" y="22"/>
                    <a:pt x="35" y="23"/>
                    <a:pt x="0" y="0"/>
                  </a:cubicBezTo>
                  <a:cubicBezTo>
                    <a:pt x="0" y="0"/>
                    <a:pt x="16" y="38"/>
                    <a:pt x="70" y="34"/>
                  </a:cubicBezTo>
                  <a:lnTo>
                    <a:pt x="71" y="22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2" name="Freeform 143">
              <a:extLst>
                <a:ext uri="{FF2B5EF4-FFF2-40B4-BE49-F238E27FC236}">
                  <a16:creationId xmlns:a16="http://schemas.microsoft.com/office/drawing/2014/main" id="{A8BCAF54-2FE4-4BFE-AA4E-F39B82652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1" y="1983"/>
              <a:ext cx="57" cy="40"/>
            </a:xfrm>
            <a:custGeom>
              <a:avLst/>
              <a:gdLst>
                <a:gd name="T0" fmla="*/ 23 w 24"/>
                <a:gd name="T1" fmla="*/ 5 h 17"/>
                <a:gd name="T2" fmla="*/ 11 w 24"/>
                <a:gd name="T3" fmla="*/ 0 h 17"/>
                <a:gd name="T4" fmla="*/ 2 w 24"/>
                <a:gd name="T5" fmla="*/ 4 h 17"/>
                <a:gd name="T6" fmla="*/ 2 w 24"/>
                <a:gd name="T7" fmla="*/ 13 h 17"/>
                <a:gd name="T8" fmla="*/ 11 w 24"/>
                <a:gd name="T9" fmla="*/ 16 h 17"/>
                <a:gd name="T10" fmla="*/ 21 w 24"/>
                <a:gd name="T11" fmla="*/ 10 h 17"/>
                <a:gd name="T12" fmla="*/ 23 w 24"/>
                <a:gd name="T13" fmla="*/ 8 h 17"/>
                <a:gd name="T14" fmla="*/ 23 w 24"/>
                <a:gd name="T1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3" y="5"/>
                  </a:moveTo>
                  <a:cubicBezTo>
                    <a:pt x="20" y="2"/>
                    <a:pt x="16" y="0"/>
                    <a:pt x="11" y="0"/>
                  </a:cubicBezTo>
                  <a:cubicBezTo>
                    <a:pt x="8" y="0"/>
                    <a:pt x="4" y="2"/>
                    <a:pt x="2" y="4"/>
                  </a:cubicBezTo>
                  <a:cubicBezTo>
                    <a:pt x="0" y="7"/>
                    <a:pt x="0" y="10"/>
                    <a:pt x="2" y="13"/>
                  </a:cubicBezTo>
                  <a:cubicBezTo>
                    <a:pt x="4" y="16"/>
                    <a:pt x="8" y="17"/>
                    <a:pt x="11" y="16"/>
                  </a:cubicBezTo>
                  <a:cubicBezTo>
                    <a:pt x="15" y="15"/>
                    <a:pt x="18" y="13"/>
                    <a:pt x="21" y="10"/>
                  </a:cubicBezTo>
                  <a:cubicBezTo>
                    <a:pt x="22" y="10"/>
                    <a:pt x="23" y="9"/>
                    <a:pt x="23" y="8"/>
                  </a:cubicBezTo>
                  <a:cubicBezTo>
                    <a:pt x="24" y="7"/>
                    <a:pt x="24" y="6"/>
                    <a:pt x="23" y="5"/>
                  </a:cubicBezTo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3" name="Freeform 144">
              <a:extLst>
                <a:ext uri="{FF2B5EF4-FFF2-40B4-BE49-F238E27FC236}">
                  <a16:creationId xmlns:a16="http://schemas.microsoft.com/office/drawing/2014/main" id="{F042B88A-9606-45A8-BF91-3163135B0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" y="1964"/>
              <a:ext cx="59" cy="52"/>
            </a:xfrm>
            <a:custGeom>
              <a:avLst/>
              <a:gdLst>
                <a:gd name="T0" fmla="*/ 1 w 25"/>
                <a:gd name="T1" fmla="*/ 0 h 22"/>
                <a:gd name="T2" fmla="*/ 9 w 25"/>
                <a:gd name="T3" fmla="*/ 14 h 22"/>
                <a:gd name="T4" fmla="*/ 25 w 25"/>
                <a:gd name="T5" fmla="*/ 20 h 22"/>
                <a:gd name="T6" fmla="*/ 19 w 25"/>
                <a:gd name="T7" fmla="*/ 22 h 22"/>
                <a:gd name="T8" fmla="*/ 6 w 25"/>
                <a:gd name="T9" fmla="*/ 17 h 22"/>
                <a:gd name="T10" fmla="*/ 0 w 25"/>
                <a:gd name="T11" fmla="*/ 5 h 22"/>
                <a:gd name="T12" fmla="*/ 1 w 25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2">
                  <a:moveTo>
                    <a:pt x="1" y="0"/>
                  </a:moveTo>
                  <a:cubicBezTo>
                    <a:pt x="3" y="0"/>
                    <a:pt x="2" y="8"/>
                    <a:pt x="9" y="14"/>
                  </a:cubicBezTo>
                  <a:cubicBezTo>
                    <a:pt x="16" y="20"/>
                    <a:pt x="25" y="19"/>
                    <a:pt x="25" y="20"/>
                  </a:cubicBezTo>
                  <a:cubicBezTo>
                    <a:pt x="25" y="21"/>
                    <a:pt x="23" y="22"/>
                    <a:pt x="19" y="22"/>
                  </a:cubicBezTo>
                  <a:cubicBezTo>
                    <a:pt x="16" y="22"/>
                    <a:pt x="10" y="21"/>
                    <a:pt x="6" y="17"/>
                  </a:cubicBezTo>
                  <a:cubicBezTo>
                    <a:pt x="2" y="13"/>
                    <a:pt x="0" y="9"/>
                    <a:pt x="0" y="5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4" name="Freeform 145">
              <a:extLst>
                <a:ext uri="{FF2B5EF4-FFF2-40B4-BE49-F238E27FC236}">
                  <a16:creationId xmlns:a16="http://schemas.microsoft.com/office/drawing/2014/main" id="{A32AC447-28E2-4531-99C5-2A6F9FDE5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" y="1753"/>
              <a:ext cx="83" cy="26"/>
            </a:xfrm>
            <a:custGeom>
              <a:avLst/>
              <a:gdLst>
                <a:gd name="T0" fmla="*/ 34 w 35"/>
                <a:gd name="T1" fmla="*/ 7 h 11"/>
                <a:gd name="T2" fmla="*/ 17 w 35"/>
                <a:gd name="T3" fmla="*/ 8 h 11"/>
                <a:gd name="T4" fmla="*/ 0 w 35"/>
                <a:gd name="T5" fmla="*/ 10 h 11"/>
                <a:gd name="T6" fmla="*/ 4 w 35"/>
                <a:gd name="T7" fmla="*/ 5 h 11"/>
                <a:gd name="T8" fmla="*/ 17 w 35"/>
                <a:gd name="T9" fmla="*/ 1 h 11"/>
                <a:gd name="T10" fmla="*/ 30 w 35"/>
                <a:gd name="T11" fmla="*/ 3 h 11"/>
                <a:gd name="T12" fmla="*/ 34 w 3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1">
                  <a:moveTo>
                    <a:pt x="34" y="7"/>
                  </a:moveTo>
                  <a:cubicBezTo>
                    <a:pt x="34" y="9"/>
                    <a:pt x="26" y="8"/>
                    <a:pt x="17" y="8"/>
                  </a:cubicBezTo>
                  <a:cubicBezTo>
                    <a:pt x="9" y="9"/>
                    <a:pt x="2" y="11"/>
                    <a:pt x="0" y="10"/>
                  </a:cubicBezTo>
                  <a:cubicBezTo>
                    <a:pt x="0" y="9"/>
                    <a:pt x="1" y="7"/>
                    <a:pt x="4" y="5"/>
                  </a:cubicBezTo>
                  <a:cubicBezTo>
                    <a:pt x="7" y="3"/>
                    <a:pt x="12" y="1"/>
                    <a:pt x="17" y="1"/>
                  </a:cubicBezTo>
                  <a:cubicBezTo>
                    <a:pt x="22" y="0"/>
                    <a:pt x="27" y="1"/>
                    <a:pt x="30" y="3"/>
                  </a:cubicBezTo>
                  <a:cubicBezTo>
                    <a:pt x="33" y="4"/>
                    <a:pt x="35" y="6"/>
                    <a:pt x="34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5" name="Freeform 146">
              <a:extLst>
                <a:ext uri="{FF2B5EF4-FFF2-40B4-BE49-F238E27FC236}">
                  <a16:creationId xmlns:a16="http://schemas.microsoft.com/office/drawing/2014/main" id="{75686B15-A92E-4315-8ED1-4DD20B393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" y="1767"/>
              <a:ext cx="76" cy="24"/>
            </a:xfrm>
            <a:custGeom>
              <a:avLst/>
              <a:gdLst>
                <a:gd name="T0" fmla="*/ 32 w 32"/>
                <a:gd name="T1" fmla="*/ 8 h 10"/>
                <a:gd name="T2" fmla="*/ 16 w 32"/>
                <a:gd name="T3" fmla="*/ 7 h 10"/>
                <a:gd name="T4" fmla="*/ 1 w 32"/>
                <a:gd name="T5" fmla="*/ 6 h 10"/>
                <a:gd name="T6" fmla="*/ 4 w 32"/>
                <a:gd name="T7" fmla="*/ 2 h 10"/>
                <a:gd name="T8" fmla="*/ 17 w 32"/>
                <a:gd name="T9" fmla="*/ 0 h 10"/>
                <a:gd name="T10" fmla="*/ 29 w 32"/>
                <a:gd name="T11" fmla="*/ 4 h 10"/>
                <a:gd name="T12" fmla="*/ 32 w 32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0">
                  <a:moveTo>
                    <a:pt x="32" y="8"/>
                  </a:moveTo>
                  <a:cubicBezTo>
                    <a:pt x="30" y="10"/>
                    <a:pt x="24" y="8"/>
                    <a:pt x="16" y="7"/>
                  </a:cubicBezTo>
                  <a:cubicBezTo>
                    <a:pt x="9" y="7"/>
                    <a:pt x="2" y="8"/>
                    <a:pt x="1" y="6"/>
                  </a:cubicBezTo>
                  <a:cubicBezTo>
                    <a:pt x="0" y="5"/>
                    <a:pt x="1" y="4"/>
                    <a:pt x="4" y="2"/>
                  </a:cubicBezTo>
                  <a:cubicBezTo>
                    <a:pt x="7" y="1"/>
                    <a:pt x="12" y="0"/>
                    <a:pt x="17" y="0"/>
                  </a:cubicBezTo>
                  <a:cubicBezTo>
                    <a:pt x="22" y="0"/>
                    <a:pt x="26" y="2"/>
                    <a:pt x="29" y="4"/>
                  </a:cubicBezTo>
                  <a:cubicBezTo>
                    <a:pt x="31" y="5"/>
                    <a:pt x="32" y="7"/>
                    <a:pt x="32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6" name="Freeform 147">
              <a:extLst>
                <a:ext uri="{FF2B5EF4-FFF2-40B4-BE49-F238E27FC236}">
                  <a16:creationId xmlns:a16="http://schemas.microsoft.com/office/drawing/2014/main" id="{BB671C9A-D3D0-4740-9E9F-BC388BF14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0" y="1560"/>
              <a:ext cx="262" cy="506"/>
            </a:xfrm>
            <a:custGeom>
              <a:avLst/>
              <a:gdLst>
                <a:gd name="T0" fmla="*/ 18 w 110"/>
                <a:gd name="T1" fmla="*/ 213 h 213"/>
                <a:gd name="T2" fmla="*/ 50 w 110"/>
                <a:gd name="T3" fmla="*/ 180 h 213"/>
                <a:gd name="T4" fmla="*/ 56 w 110"/>
                <a:gd name="T5" fmla="*/ 123 h 213"/>
                <a:gd name="T6" fmla="*/ 60 w 110"/>
                <a:gd name="T7" fmla="*/ 90 h 213"/>
                <a:gd name="T8" fmla="*/ 89 w 110"/>
                <a:gd name="T9" fmla="*/ 64 h 213"/>
                <a:gd name="T10" fmla="*/ 109 w 110"/>
                <a:gd name="T11" fmla="*/ 33 h 213"/>
                <a:gd name="T12" fmla="*/ 79 w 110"/>
                <a:gd name="T13" fmla="*/ 5 h 213"/>
                <a:gd name="T14" fmla="*/ 26 w 110"/>
                <a:gd name="T15" fmla="*/ 13 h 213"/>
                <a:gd name="T16" fmla="*/ 5 w 110"/>
                <a:gd name="T17" fmla="*/ 67 h 213"/>
                <a:gd name="T18" fmla="*/ 6 w 110"/>
                <a:gd name="T19" fmla="*/ 206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213">
                  <a:moveTo>
                    <a:pt x="18" y="213"/>
                  </a:moveTo>
                  <a:cubicBezTo>
                    <a:pt x="36" y="206"/>
                    <a:pt x="44" y="199"/>
                    <a:pt x="50" y="180"/>
                  </a:cubicBezTo>
                  <a:cubicBezTo>
                    <a:pt x="56" y="162"/>
                    <a:pt x="57" y="142"/>
                    <a:pt x="56" y="123"/>
                  </a:cubicBezTo>
                  <a:cubicBezTo>
                    <a:pt x="56" y="112"/>
                    <a:pt x="55" y="100"/>
                    <a:pt x="60" y="90"/>
                  </a:cubicBezTo>
                  <a:cubicBezTo>
                    <a:pt x="66" y="79"/>
                    <a:pt x="78" y="72"/>
                    <a:pt x="89" y="64"/>
                  </a:cubicBezTo>
                  <a:cubicBezTo>
                    <a:pt x="100" y="57"/>
                    <a:pt x="110" y="46"/>
                    <a:pt x="109" y="33"/>
                  </a:cubicBezTo>
                  <a:cubicBezTo>
                    <a:pt x="108" y="18"/>
                    <a:pt x="93" y="8"/>
                    <a:pt x="79" y="5"/>
                  </a:cubicBezTo>
                  <a:cubicBezTo>
                    <a:pt x="61" y="0"/>
                    <a:pt x="40" y="1"/>
                    <a:pt x="26" y="13"/>
                  </a:cubicBezTo>
                  <a:cubicBezTo>
                    <a:pt x="11" y="26"/>
                    <a:pt x="7" y="47"/>
                    <a:pt x="5" y="67"/>
                  </a:cubicBezTo>
                  <a:cubicBezTo>
                    <a:pt x="0" y="117"/>
                    <a:pt x="1" y="156"/>
                    <a:pt x="6" y="20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7" name="Oval 148">
              <a:extLst>
                <a:ext uri="{FF2B5EF4-FFF2-40B4-BE49-F238E27FC236}">
                  <a16:creationId xmlns:a16="http://schemas.microsoft.com/office/drawing/2014/main" id="{F58B99AA-940C-4E07-B3EA-AFBAF1BA5B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7" y="1696"/>
              <a:ext cx="2" cy="9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8" name="Freeform 149">
              <a:extLst>
                <a:ext uri="{FF2B5EF4-FFF2-40B4-BE49-F238E27FC236}">
                  <a16:creationId xmlns:a16="http://schemas.microsoft.com/office/drawing/2014/main" id="{DDA8A1C4-2AB0-44C1-9C04-77B36B92B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1800"/>
              <a:ext cx="59" cy="223"/>
            </a:xfrm>
            <a:custGeom>
              <a:avLst/>
              <a:gdLst>
                <a:gd name="T0" fmla="*/ 25 w 25"/>
                <a:gd name="T1" fmla="*/ 94 h 94"/>
                <a:gd name="T2" fmla="*/ 0 w 25"/>
                <a:gd name="T3" fmla="*/ 60 h 94"/>
                <a:gd name="T4" fmla="*/ 7 w 25"/>
                <a:gd name="T5" fmla="*/ 33 h 94"/>
                <a:gd name="T6" fmla="*/ 21 w 25"/>
                <a:gd name="T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94">
                  <a:moveTo>
                    <a:pt x="25" y="94"/>
                  </a:moveTo>
                  <a:cubicBezTo>
                    <a:pt x="11" y="89"/>
                    <a:pt x="1" y="75"/>
                    <a:pt x="0" y="60"/>
                  </a:cubicBezTo>
                  <a:cubicBezTo>
                    <a:pt x="0" y="51"/>
                    <a:pt x="3" y="41"/>
                    <a:pt x="7" y="33"/>
                  </a:cubicBezTo>
                  <a:cubicBezTo>
                    <a:pt x="11" y="22"/>
                    <a:pt x="16" y="11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9" name="Freeform 150">
              <a:extLst>
                <a:ext uri="{FF2B5EF4-FFF2-40B4-BE49-F238E27FC236}">
                  <a16:creationId xmlns:a16="http://schemas.microsoft.com/office/drawing/2014/main" id="{164242AD-8A00-4A12-9581-131AAA397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6" y="1631"/>
              <a:ext cx="121" cy="359"/>
            </a:xfrm>
            <a:custGeom>
              <a:avLst/>
              <a:gdLst>
                <a:gd name="T0" fmla="*/ 11 w 51"/>
                <a:gd name="T1" fmla="*/ 151 h 151"/>
                <a:gd name="T2" fmla="*/ 17 w 51"/>
                <a:gd name="T3" fmla="*/ 147 h 151"/>
                <a:gd name="T4" fmla="*/ 32 w 51"/>
                <a:gd name="T5" fmla="*/ 136 h 151"/>
                <a:gd name="T6" fmla="*/ 46 w 51"/>
                <a:gd name="T7" fmla="*/ 111 h 151"/>
                <a:gd name="T8" fmla="*/ 45 w 51"/>
                <a:gd name="T9" fmla="*/ 77 h 151"/>
                <a:gd name="T10" fmla="*/ 27 w 51"/>
                <a:gd name="T11" fmla="*/ 47 h 151"/>
                <a:gd name="T12" fmla="*/ 9 w 51"/>
                <a:gd name="T13" fmla="*/ 24 h 151"/>
                <a:gd name="T14" fmla="*/ 1 w 51"/>
                <a:gd name="T15" fmla="*/ 7 h 151"/>
                <a:gd name="T16" fmla="*/ 0 w 51"/>
                <a:gd name="T17" fmla="*/ 2 h 151"/>
                <a:gd name="T18" fmla="*/ 0 w 51"/>
                <a:gd name="T19" fmla="*/ 0 h 151"/>
                <a:gd name="T20" fmla="*/ 11 w 51"/>
                <a:gd name="T21" fmla="*/ 24 h 151"/>
                <a:gd name="T22" fmla="*/ 28 w 51"/>
                <a:gd name="T23" fmla="*/ 46 h 151"/>
                <a:gd name="T24" fmla="*/ 47 w 51"/>
                <a:gd name="T25" fmla="*/ 76 h 151"/>
                <a:gd name="T26" fmla="*/ 48 w 51"/>
                <a:gd name="T27" fmla="*/ 112 h 151"/>
                <a:gd name="T28" fmla="*/ 33 w 51"/>
                <a:gd name="T29" fmla="*/ 137 h 151"/>
                <a:gd name="T30" fmla="*/ 17 w 51"/>
                <a:gd name="T31" fmla="*/ 148 h 151"/>
                <a:gd name="T32" fmla="*/ 13 w 51"/>
                <a:gd name="T33" fmla="*/ 150 h 151"/>
                <a:gd name="T34" fmla="*/ 11 w 51"/>
                <a:gd name="T3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" h="151">
                  <a:moveTo>
                    <a:pt x="11" y="151"/>
                  </a:moveTo>
                  <a:cubicBezTo>
                    <a:pt x="11" y="150"/>
                    <a:pt x="13" y="150"/>
                    <a:pt x="17" y="147"/>
                  </a:cubicBezTo>
                  <a:cubicBezTo>
                    <a:pt x="21" y="145"/>
                    <a:pt x="27" y="141"/>
                    <a:pt x="32" y="136"/>
                  </a:cubicBezTo>
                  <a:cubicBezTo>
                    <a:pt x="38" y="130"/>
                    <a:pt x="43" y="121"/>
                    <a:pt x="46" y="111"/>
                  </a:cubicBezTo>
                  <a:cubicBezTo>
                    <a:pt x="48" y="101"/>
                    <a:pt x="49" y="89"/>
                    <a:pt x="45" y="77"/>
                  </a:cubicBezTo>
                  <a:cubicBezTo>
                    <a:pt x="40" y="65"/>
                    <a:pt x="33" y="56"/>
                    <a:pt x="27" y="47"/>
                  </a:cubicBezTo>
                  <a:cubicBezTo>
                    <a:pt x="20" y="39"/>
                    <a:pt x="14" y="31"/>
                    <a:pt x="9" y="24"/>
                  </a:cubicBezTo>
                  <a:cubicBezTo>
                    <a:pt x="5" y="17"/>
                    <a:pt x="2" y="11"/>
                    <a:pt x="1" y="7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0"/>
                    <a:pt x="11" y="24"/>
                  </a:cubicBezTo>
                  <a:cubicBezTo>
                    <a:pt x="15" y="30"/>
                    <a:pt x="21" y="38"/>
                    <a:pt x="28" y="46"/>
                  </a:cubicBezTo>
                  <a:cubicBezTo>
                    <a:pt x="35" y="55"/>
                    <a:pt x="42" y="64"/>
                    <a:pt x="47" y="76"/>
                  </a:cubicBezTo>
                  <a:cubicBezTo>
                    <a:pt x="51" y="88"/>
                    <a:pt x="51" y="101"/>
                    <a:pt x="48" y="112"/>
                  </a:cubicBezTo>
                  <a:cubicBezTo>
                    <a:pt x="45" y="122"/>
                    <a:pt x="39" y="131"/>
                    <a:pt x="33" y="137"/>
                  </a:cubicBezTo>
                  <a:cubicBezTo>
                    <a:pt x="27" y="142"/>
                    <a:pt x="22" y="146"/>
                    <a:pt x="17" y="148"/>
                  </a:cubicBezTo>
                  <a:cubicBezTo>
                    <a:pt x="15" y="149"/>
                    <a:pt x="14" y="150"/>
                    <a:pt x="13" y="150"/>
                  </a:cubicBezTo>
                  <a:cubicBezTo>
                    <a:pt x="11" y="150"/>
                    <a:pt x="11" y="151"/>
                    <a:pt x="11" y="15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0" name="Freeform 151">
              <a:extLst>
                <a:ext uri="{FF2B5EF4-FFF2-40B4-BE49-F238E27FC236}">
                  <a16:creationId xmlns:a16="http://schemas.microsoft.com/office/drawing/2014/main" id="{67019A1B-269A-4C3A-8EA0-5311401A1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1636"/>
              <a:ext cx="280" cy="414"/>
            </a:xfrm>
            <a:custGeom>
              <a:avLst/>
              <a:gdLst>
                <a:gd name="T0" fmla="*/ 18 w 118"/>
                <a:gd name="T1" fmla="*/ 174 h 174"/>
                <a:gd name="T2" fmla="*/ 16 w 118"/>
                <a:gd name="T3" fmla="*/ 172 h 174"/>
                <a:gd name="T4" fmla="*/ 13 w 118"/>
                <a:gd name="T5" fmla="*/ 166 h 174"/>
                <a:gd name="T6" fmla="*/ 4 w 118"/>
                <a:gd name="T7" fmla="*/ 142 h 174"/>
                <a:gd name="T8" fmla="*/ 2 w 118"/>
                <a:gd name="T9" fmla="*/ 104 h 174"/>
                <a:gd name="T10" fmla="*/ 21 w 118"/>
                <a:gd name="T11" fmla="*/ 62 h 174"/>
                <a:gd name="T12" fmla="*/ 38 w 118"/>
                <a:gd name="T13" fmla="*/ 45 h 174"/>
                <a:gd name="T14" fmla="*/ 58 w 118"/>
                <a:gd name="T15" fmla="*/ 34 h 174"/>
                <a:gd name="T16" fmla="*/ 94 w 118"/>
                <a:gd name="T17" fmla="*/ 23 h 174"/>
                <a:gd name="T18" fmla="*/ 114 w 118"/>
                <a:gd name="T19" fmla="*/ 8 h 174"/>
                <a:gd name="T20" fmla="*/ 118 w 118"/>
                <a:gd name="T21" fmla="*/ 0 h 174"/>
                <a:gd name="T22" fmla="*/ 117 w 118"/>
                <a:gd name="T23" fmla="*/ 2 h 174"/>
                <a:gd name="T24" fmla="*/ 114 w 118"/>
                <a:gd name="T25" fmla="*/ 9 h 174"/>
                <a:gd name="T26" fmla="*/ 95 w 118"/>
                <a:gd name="T27" fmla="*/ 25 h 174"/>
                <a:gd name="T28" fmla="*/ 59 w 118"/>
                <a:gd name="T29" fmla="*/ 36 h 174"/>
                <a:gd name="T30" fmla="*/ 39 w 118"/>
                <a:gd name="T31" fmla="*/ 46 h 174"/>
                <a:gd name="T32" fmla="*/ 22 w 118"/>
                <a:gd name="T33" fmla="*/ 63 h 174"/>
                <a:gd name="T34" fmla="*/ 4 w 118"/>
                <a:gd name="T35" fmla="*/ 104 h 174"/>
                <a:gd name="T36" fmla="*/ 5 w 118"/>
                <a:gd name="T37" fmla="*/ 141 h 174"/>
                <a:gd name="T38" fmla="*/ 14 w 118"/>
                <a:gd name="T39" fmla="*/ 165 h 174"/>
                <a:gd name="T40" fmla="*/ 18 w 118"/>
                <a:gd name="T41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74">
                  <a:moveTo>
                    <a:pt x="18" y="174"/>
                  </a:moveTo>
                  <a:cubicBezTo>
                    <a:pt x="18" y="174"/>
                    <a:pt x="17" y="173"/>
                    <a:pt x="16" y="172"/>
                  </a:cubicBezTo>
                  <a:cubicBezTo>
                    <a:pt x="15" y="170"/>
                    <a:pt x="14" y="168"/>
                    <a:pt x="13" y="166"/>
                  </a:cubicBezTo>
                  <a:cubicBezTo>
                    <a:pt x="10" y="160"/>
                    <a:pt x="6" y="152"/>
                    <a:pt x="4" y="142"/>
                  </a:cubicBezTo>
                  <a:cubicBezTo>
                    <a:pt x="1" y="131"/>
                    <a:pt x="0" y="118"/>
                    <a:pt x="2" y="104"/>
                  </a:cubicBezTo>
                  <a:cubicBezTo>
                    <a:pt x="4" y="90"/>
                    <a:pt x="10" y="75"/>
                    <a:pt x="21" y="62"/>
                  </a:cubicBezTo>
                  <a:cubicBezTo>
                    <a:pt x="26" y="55"/>
                    <a:pt x="32" y="49"/>
                    <a:pt x="38" y="45"/>
                  </a:cubicBezTo>
                  <a:cubicBezTo>
                    <a:pt x="44" y="40"/>
                    <a:pt x="51" y="37"/>
                    <a:pt x="58" y="34"/>
                  </a:cubicBezTo>
                  <a:cubicBezTo>
                    <a:pt x="71" y="30"/>
                    <a:pt x="84" y="28"/>
                    <a:pt x="94" y="23"/>
                  </a:cubicBezTo>
                  <a:cubicBezTo>
                    <a:pt x="104" y="19"/>
                    <a:pt x="110" y="13"/>
                    <a:pt x="114" y="8"/>
                  </a:cubicBezTo>
                  <a:cubicBezTo>
                    <a:pt x="117" y="3"/>
                    <a:pt x="118" y="0"/>
                    <a:pt x="118" y="0"/>
                  </a:cubicBezTo>
                  <a:cubicBezTo>
                    <a:pt x="118" y="0"/>
                    <a:pt x="118" y="1"/>
                    <a:pt x="117" y="2"/>
                  </a:cubicBezTo>
                  <a:cubicBezTo>
                    <a:pt x="117" y="4"/>
                    <a:pt x="116" y="6"/>
                    <a:pt x="114" y="9"/>
                  </a:cubicBezTo>
                  <a:cubicBezTo>
                    <a:pt x="111" y="14"/>
                    <a:pt x="105" y="20"/>
                    <a:pt x="95" y="25"/>
                  </a:cubicBezTo>
                  <a:cubicBezTo>
                    <a:pt x="85" y="29"/>
                    <a:pt x="72" y="31"/>
                    <a:pt x="59" y="36"/>
                  </a:cubicBezTo>
                  <a:cubicBezTo>
                    <a:pt x="52" y="39"/>
                    <a:pt x="45" y="42"/>
                    <a:pt x="39" y="46"/>
                  </a:cubicBezTo>
                  <a:cubicBezTo>
                    <a:pt x="33" y="51"/>
                    <a:pt x="27" y="56"/>
                    <a:pt x="22" y="63"/>
                  </a:cubicBezTo>
                  <a:cubicBezTo>
                    <a:pt x="12" y="76"/>
                    <a:pt x="6" y="90"/>
                    <a:pt x="4" y="104"/>
                  </a:cubicBezTo>
                  <a:cubicBezTo>
                    <a:pt x="2" y="118"/>
                    <a:pt x="3" y="131"/>
                    <a:pt x="5" y="141"/>
                  </a:cubicBezTo>
                  <a:cubicBezTo>
                    <a:pt x="8" y="152"/>
                    <a:pt x="11" y="160"/>
                    <a:pt x="14" y="165"/>
                  </a:cubicBezTo>
                  <a:cubicBezTo>
                    <a:pt x="16" y="171"/>
                    <a:pt x="18" y="174"/>
                    <a:pt x="18" y="174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1" name="Freeform 152">
              <a:extLst>
                <a:ext uri="{FF2B5EF4-FFF2-40B4-BE49-F238E27FC236}">
                  <a16:creationId xmlns:a16="http://schemas.microsoft.com/office/drawing/2014/main" id="{F1C2B606-91D3-4394-A0DA-09B941A6B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" y="1643"/>
              <a:ext cx="297" cy="143"/>
            </a:xfrm>
            <a:custGeom>
              <a:avLst/>
              <a:gdLst>
                <a:gd name="T0" fmla="*/ 0 w 125"/>
                <a:gd name="T1" fmla="*/ 60 h 60"/>
                <a:gd name="T2" fmla="*/ 0 w 125"/>
                <a:gd name="T3" fmla="*/ 59 h 60"/>
                <a:gd name="T4" fmla="*/ 0 w 125"/>
                <a:gd name="T5" fmla="*/ 54 h 60"/>
                <a:gd name="T6" fmla="*/ 7 w 125"/>
                <a:gd name="T7" fmla="*/ 40 h 60"/>
                <a:gd name="T8" fmla="*/ 27 w 125"/>
                <a:gd name="T9" fmla="*/ 25 h 60"/>
                <a:gd name="T10" fmla="*/ 56 w 125"/>
                <a:gd name="T11" fmla="*/ 20 h 60"/>
                <a:gd name="T12" fmla="*/ 85 w 125"/>
                <a:gd name="T13" fmla="*/ 19 h 60"/>
                <a:gd name="T14" fmla="*/ 108 w 125"/>
                <a:gd name="T15" fmla="*/ 13 h 60"/>
                <a:gd name="T16" fmla="*/ 121 w 125"/>
                <a:gd name="T17" fmla="*/ 4 h 60"/>
                <a:gd name="T18" fmla="*/ 125 w 125"/>
                <a:gd name="T19" fmla="*/ 0 h 60"/>
                <a:gd name="T20" fmla="*/ 124 w 125"/>
                <a:gd name="T21" fmla="*/ 1 h 60"/>
                <a:gd name="T22" fmla="*/ 121 w 125"/>
                <a:gd name="T23" fmla="*/ 5 h 60"/>
                <a:gd name="T24" fmla="*/ 108 w 125"/>
                <a:gd name="T25" fmla="*/ 14 h 60"/>
                <a:gd name="T26" fmla="*/ 85 w 125"/>
                <a:gd name="T27" fmla="*/ 21 h 60"/>
                <a:gd name="T28" fmla="*/ 56 w 125"/>
                <a:gd name="T29" fmla="*/ 22 h 60"/>
                <a:gd name="T30" fmla="*/ 27 w 125"/>
                <a:gd name="T31" fmla="*/ 27 h 60"/>
                <a:gd name="T32" fmla="*/ 8 w 125"/>
                <a:gd name="T33" fmla="*/ 41 h 60"/>
                <a:gd name="T34" fmla="*/ 1 w 125"/>
                <a:gd name="T35" fmla="*/ 54 h 60"/>
                <a:gd name="T36" fmla="*/ 0 w 125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60">
                  <a:moveTo>
                    <a:pt x="0" y="60"/>
                  </a:moveTo>
                  <a:cubicBezTo>
                    <a:pt x="0" y="60"/>
                    <a:pt x="0" y="60"/>
                    <a:pt x="0" y="59"/>
                  </a:cubicBezTo>
                  <a:cubicBezTo>
                    <a:pt x="0" y="58"/>
                    <a:pt x="0" y="56"/>
                    <a:pt x="0" y="54"/>
                  </a:cubicBezTo>
                  <a:cubicBezTo>
                    <a:pt x="1" y="50"/>
                    <a:pt x="3" y="45"/>
                    <a:pt x="7" y="40"/>
                  </a:cubicBezTo>
                  <a:cubicBezTo>
                    <a:pt x="11" y="34"/>
                    <a:pt x="18" y="29"/>
                    <a:pt x="27" y="25"/>
                  </a:cubicBezTo>
                  <a:cubicBezTo>
                    <a:pt x="35" y="22"/>
                    <a:pt x="45" y="21"/>
                    <a:pt x="56" y="20"/>
                  </a:cubicBezTo>
                  <a:cubicBezTo>
                    <a:pt x="66" y="20"/>
                    <a:pt x="76" y="20"/>
                    <a:pt x="85" y="19"/>
                  </a:cubicBezTo>
                  <a:cubicBezTo>
                    <a:pt x="94" y="18"/>
                    <a:pt x="102" y="16"/>
                    <a:pt x="108" y="13"/>
                  </a:cubicBezTo>
                  <a:cubicBezTo>
                    <a:pt x="114" y="10"/>
                    <a:pt x="118" y="7"/>
                    <a:pt x="121" y="4"/>
                  </a:cubicBezTo>
                  <a:cubicBezTo>
                    <a:pt x="124" y="2"/>
                    <a:pt x="125" y="0"/>
                    <a:pt x="125" y="0"/>
                  </a:cubicBezTo>
                  <a:cubicBezTo>
                    <a:pt x="125" y="0"/>
                    <a:pt x="125" y="0"/>
                    <a:pt x="124" y="1"/>
                  </a:cubicBezTo>
                  <a:cubicBezTo>
                    <a:pt x="124" y="2"/>
                    <a:pt x="123" y="3"/>
                    <a:pt x="121" y="5"/>
                  </a:cubicBezTo>
                  <a:cubicBezTo>
                    <a:pt x="119" y="8"/>
                    <a:pt x="115" y="11"/>
                    <a:pt x="108" y="14"/>
                  </a:cubicBezTo>
                  <a:cubicBezTo>
                    <a:pt x="102" y="17"/>
                    <a:pt x="94" y="20"/>
                    <a:pt x="85" y="21"/>
                  </a:cubicBezTo>
                  <a:cubicBezTo>
                    <a:pt x="76" y="22"/>
                    <a:pt x="66" y="22"/>
                    <a:pt x="56" y="22"/>
                  </a:cubicBezTo>
                  <a:cubicBezTo>
                    <a:pt x="46" y="23"/>
                    <a:pt x="36" y="24"/>
                    <a:pt x="27" y="27"/>
                  </a:cubicBezTo>
                  <a:cubicBezTo>
                    <a:pt x="19" y="30"/>
                    <a:pt x="13" y="35"/>
                    <a:pt x="8" y="41"/>
                  </a:cubicBezTo>
                  <a:cubicBezTo>
                    <a:pt x="4" y="46"/>
                    <a:pt x="2" y="51"/>
                    <a:pt x="1" y="54"/>
                  </a:cubicBezTo>
                  <a:cubicBezTo>
                    <a:pt x="0" y="58"/>
                    <a:pt x="0" y="60"/>
                    <a:pt x="0" y="6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2" name="Freeform 153">
              <a:extLst>
                <a:ext uri="{FF2B5EF4-FFF2-40B4-BE49-F238E27FC236}">
                  <a16:creationId xmlns:a16="http://schemas.microsoft.com/office/drawing/2014/main" id="{03074BC6-1D6F-4A96-AFDA-90524EC2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5" y="1529"/>
              <a:ext cx="109" cy="112"/>
            </a:xfrm>
            <a:custGeom>
              <a:avLst/>
              <a:gdLst>
                <a:gd name="T0" fmla="*/ 44 w 46"/>
                <a:gd name="T1" fmla="*/ 0 h 47"/>
                <a:gd name="T2" fmla="*/ 45 w 46"/>
                <a:gd name="T3" fmla="*/ 3 h 47"/>
                <a:gd name="T4" fmla="*/ 45 w 46"/>
                <a:gd name="T5" fmla="*/ 11 h 47"/>
                <a:gd name="T6" fmla="*/ 33 w 46"/>
                <a:gd name="T7" fmla="*/ 33 h 47"/>
                <a:gd name="T8" fmla="*/ 11 w 46"/>
                <a:gd name="T9" fmla="*/ 45 h 47"/>
                <a:gd name="T10" fmla="*/ 0 w 46"/>
                <a:gd name="T11" fmla="*/ 46 h 47"/>
                <a:gd name="T12" fmla="*/ 10 w 46"/>
                <a:gd name="T13" fmla="*/ 43 h 47"/>
                <a:gd name="T14" fmla="*/ 32 w 46"/>
                <a:gd name="T15" fmla="*/ 32 h 47"/>
                <a:gd name="T16" fmla="*/ 44 w 46"/>
                <a:gd name="T17" fmla="*/ 11 h 47"/>
                <a:gd name="T18" fmla="*/ 44 w 46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7">
                  <a:moveTo>
                    <a:pt x="44" y="0"/>
                  </a:moveTo>
                  <a:cubicBezTo>
                    <a:pt x="44" y="0"/>
                    <a:pt x="44" y="1"/>
                    <a:pt x="45" y="3"/>
                  </a:cubicBezTo>
                  <a:cubicBezTo>
                    <a:pt x="45" y="5"/>
                    <a:pt x="46" y="8"/>
                    <a:pt x="45" y="11"/>
                  </a:cubicBezTo>
                  <a:cubicBezTo>
                    <a:pt x="45" y="18"/>
                    <a:pt x="41" y="27"/>
                    <a:pt x="33" y="33"/>
                  </a:cubicBezTo>
                  <a:cubicBezTo>
                    <a:pt x="26" y="40"/>
                    <a:pt x="17" y="43"/>
                    <a:pt x="11" y="45"/>
                  </a:cubicBezTo>
                  <a:cubicBezTo>
                    <a:pt x="4" y="46"/>
                    <a:pt x="0" y="47"/>
                    <a:pt x="0" y="46"/>
                  </a:cubicBezTo>
                  <a:cubicBezTo>
                    <a:pt x="0" y="46"/>
                    <a:pt x="4" y="45"/>
                    <a:pt x="10" y="43"/>
                  </a:cubicBezTo>
                  <a:cubicBezTo>
                    <a:pt x="16" y="41"/>
                    <a:pt x="25" y="38"/>
                    <a:pt x="32" y="32"/>
                  </a:cubicBezTo>
                  <a:cubicBezTo>
                    <a:pt x="39" y="25"/>
                    <a:pt x="43" y="17"/>
                    <a:pt x="44" y="11"/>
                  </a:cubicBezTo>
                  <a:cubicBezTo>
                    <a:pt x="45" y="4"/>
                    <a:pt x="43" y="1"/>
                    <a:pt x="4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3" name="Freeform 154">
              <a:extLst>
                <a:ext uri="{FF2B5EF4-FFF2-40B4-BE49-F238E27FC236}">
                  <a16:creationId xmlns:a16="http://schemas.microsoft.com/office/drawing/2014/main" id="{99F8A4EF-2206-49B4-A332-047D2CDA7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" y="1608"/>
              <a:ext cx="52" cy="47"/>
            </a:xfrm>
            <a:custGeom>
              <a:avLst/>
              <a:gdLst>
                <a:gd name="T0" fmla="*/ 22 w 22"/>
                <a:gd name="T1" fmla="*/ 0 h 20"/>
                <a:gd name="T2" fmla="*/ 22 w 22"/>
                <a:gd name="T3" fmla="*/ 5 h 20"/>
                <a:gd name="T4" fmla="*/ 15 w 22"/>
                <a:gd name="T5" fmla="*/ 15 h 20"/>
                <a:gd name="T6" fmla="*/ 5 w 22"/>
                <a:gd name="T7" fmla="*/ 19 h 20"/>
                <a:gd name="T8" fmla="*/ 0 w 22"/>
                <a:gd name="T9" fmla="*/ 19 h 20"/>
                <a:gd name="T10" fmla="*/ 5 w 22"/>
                <a:gd name="T11" fmla="*/ 18 h 20"/>
                <a:gd name="T12" fmla="*/ 14 w 22"/>
                <a:gd name="T13" fmla="*/ 13 h 20"/>
                <a:gd name="T14" fmla="*/ 20 w 22"/>
                <a:gd name="T15" fmla="*/ 4 h 20"/>
                <a:gd name="T16" fmla="*/ 22 w 22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22" y="0"/>
                  </a:moveTo>
                  <a:cubicBezTo>
                    <a:pt x="22" y="0"/>
                    <a:pt x="22" y="2"/>
                    <a:pt x="22" y="5"/>
                  </a:cubicBezTo>
                  <a:cubicBezTo>
                    <a:pt x="21" y="8"/>
                    <a:pt x="19" y="12"/>
                    <a:pt x="15" y="15"/>
                  </a:cubicBezTo>
                  <a:cubicBezTo>
                    <a:pt x="12" y="18"/>
                    <a:pt x="8" y="19"/>
                    <a:pt x="5" y="19"/>
                  </a:cubicBezTo>
                  <a:cubicBezTo>
                    <a:pt x="2" y="20"/>
                    <a:pt x="0" y="19"/>
                    <a:pt x="0" y="19"/>
                  </a:cubicBezTo>
                  <a:cubicBezTo>
                    <a:pt x="0" y="19"/>
                    <a:pt x="2" y="19"/>
                    <a:pt x="5" y="18"/>
                  </a:cubicBezTo>
                  <a:cubicBezTo>
                    <a:pt x="7" y="17"/>
                    <a:pt x="11" y="16"/>
                    <a:pt x="14" y="13"/>
                  </a:cubicBezTo>
                  <a:cubicBezTo>
                    <a:pt x="17" y="10"/>
                    <a:pt x="19" y="7"/>
                    <a:pt x="20" y="4"/>
                  </a:cubicBezTo>
                  <a:cubicBezTo>
                    <a:pt x="21" y="2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4" name="Freeform 155">
              <a:extLst>
                <a:ext uri="{FF2B5EF4-FFF2-40B4-BE49-F238E27FC236}">
                  <a16:creationId xmlns:a16="http://schemas.microsoft.com/office/drawing/2014/main" id="{4633CB06-165F-4250-8BA0-0CBAF9F60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7" y="2249"/>
              <a:ext cx="404" cy="242"/>
            </a:xfrm>
            <a:custGeom>
              <a:avLst/>
              <a:gdLst>
                <a:gd name="T0" fmla="*/ 30 w 170"/>
                <a:gd name="T1" fmla="*/ 10 h 102"/>
                <a:gd name="T2" fmla="*/ 90 w 170"/>
                <a:gd name="T3" fmla="*/ 39 h 102"/>
                <a:gd name="T4" fmla="*/ 139 w 170"/>
                <a:gd name="T5" fmla="*/ 0 h 102"/>
                <a:gd name="T6" fmla="*/ 170 w 170"/>
                <a:gd name="T7" fmla="*/ 34 h 102"/>
                <a:gd name="T8" fmla="*/ 140 w 170"/>
                <a:gd name="T9" fmla="*/ 96 h 102"/>
                <a:gd name="T10" fmla="*/ 96 w 170"/>
                <a:gd name="T11" fmla="*/ 102 h 102"/>
                <a:gd name="T12" fmla="*/ 46 w 170"/>
                <a:gd name="T13" fmla="*/ 99 h 102"/>
                <a:gd name="T14" fmla="*/ 0 w 170"/>
                <a:gd name="T15" fmla="*/ 68 h 102"/>
                <a:gd name="T16" fmla="*/ 30 w 170"/>
                <a:gd name="T17" fmla="*/ 1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0" h="102">
                  <a:moveTo>
                    <a:pt x="30" y="10"/>
                  </a:moveTo>
                  <a:cubicBezTo>
                    <a:pt x="30" y="10"/>
                    <a:pt x="43" y="41"/>
                    <a:pt x="90" y="39"/>
                  </a:cubicBezTo>
                  <a:cubicBezTo>
                    <a:pt x="137" y="37"/>
                    <a:pt x="139" y="0"/>
                    <a:pt x="139" y="0"/>
                  </a:cubicBezTo>
                  <a:cubicBezTo>
                    <a:pt x="170" y="34"/>
                    <a:pt x="170" y="34"/>
                    <a:pt x="170" y="34"/>
                  </a:cubicBezTo>
                  <a:cubicBezTo>
                    <a:pt x="140" y="96"/>
                    <a:pt x="140" y="96"/>
                    <a:pt x="140" y="9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30" y="10"/>
                  </a:ln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5" name="Freeform 156">
              <a:extLst>
                <a:ext uri="{FF2B5EF4-FFF2-40B4-BE49-F238E27FC236}">
                  <a16:creationId xmlns:a16="http://schemas.microsoft.com/office/drawing/2014/main" id="{87446F51-B96F-429B-9A60-23B6CDDF9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" y="2187"/>
              <a:ext cx="219" cy="509"/>
            </a:xfrm>
            <a:custGeom>
              <a:avLst/>
              <a:gdLst>
                <a:gd name="T0" fmla="*/ 26 w 92"/>
                <a:gd name="T1" fmla="*/ 0 h 214"/>
                <a:gd name="T2" fmla="*/ 4 w 92"/>
                <a:gd name="T3" fmla="*/ 49 h 214"/>
                <a:gd name="T4" fmla="*/ 11 w 92"/>
                <a:gd name="T5" fmla="*/ 102 h 214"/>
                <a:gd name="T6" fmla="*/ 28 w 92"/>
                <a:gd name="T7" fmla="*/ 132 h 214"/>
                <a:gd name="T8" fmla="*/ 23 w 92"/>
                <a:gd name="T9" fmla="*/ 172 h 214"/>
                <a:gd name="T10" fmla="*/ 44 w 92"/>
                <a:gd name="T11" fmla="*/ 214 h 214"/>
                <a:gd name="T12" fmla="*/ 80 w 92"/>
                <a:gd name="T13" fmla="*/ 201 h 214"/>
                <a:gd name="T14" fmla="*/ 90 w 92"/>
                <a:gd name="T15" fmla="*/ 194 h 214"/>
                <a:gd name="T16" fmla="*/ 84 w 92"/>
                <a:gd name="T17" fmla="*/ 178 h 214"/>
                <a:gd name="T18" fmla="*/ 85 w 92"/>
                <a:gd name="T19" fmla="*/ 113 h 214"/>
                <a:gd name="T20" fmla="*/ 69 w 92"/>
                <a:gd name="T21" fmla="*/ 88 h 214"/>
                <a:gd name="T22" fmla="*/ 65 w 92"/>
                <a:gd name="T23" fmla="*/ 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" h="214">
                  <a:moveTo>
                    <a:pt x="26" y="0"/>
                  </a:moveTo>
                  <a:cubicBezTo>
                    <a:pt x="16" y="15"/>
                    <a:pt x="7" y="31"/>
                    <a:pt x="4" y="49"/>
                  </a:cubicBezTo>
                  <a:cubicBezTo>
                    <a:pt x="0" y="67"/>
                    <a:pt x="2" y="86"/>
                    <a:pt x="11" y="102"/>
                  </a:cubicBezTo>
                  <a:cubicBezTo>
                    <a:pt x="17" y="112"/>
                    <a:pt x="26" y="121"/>
                    <a:pt x="28" y="132"/>
                  </a:cubicBezTo>
                  <a:cubicBezTo>
                    <a:pt x="31" y="145"/>
                    <a:pt x="24" y="158"/>
                    <a:pt x="23" y="172"/>
                  </a:cubicBezTo>
                  <a:cubicBezTo>
                    <a:pt x="21" y="188"/>
                    <a:pt x="30" y="205"/>
                    <a:pt x="44" y="214"/>
                  </a:cubicBezTo>
                  <a:cubicBezTo>
                    <a:pt x="56" y="210"/>
                    <a:pt x="68" y="206"/>
                    <a:pt x="80" y="201"/>
                  </a:cubicBezTo>
                  <a:cubicBezTo>
                    <a:pt x="84" y="200"/>
                    <a:pt x="89" y="198"/>
                    <a:pt x="90" y="194"/>
                  </a:cubicBezTo>
                  <a:cubicBezTo>
                    <a:pt x="92" y="188"/>
                    <a:pt x="87" y="183"/>
                    <a:pt x="84" y="178"/>
                  </a:cubicBezTo>
                  <a:cubicBezTo>
                    <a:pt x="72" y="159"/>
                    <a:pt x="91" y="134"/>
                    <a:pt x="85" y="113"/>
                  </a:cubicBezTo>
                  <a:cubicBezTo>
                    <a:pt x="82" y="104"/>
                    <a:pt x="75" y="96"/>
                    <a:pt x="69" y="88"/>
                  </a:cubicBezTo>
                  <a:cubicBezTo>
                    <a:pt x="53" y="65"/>
                    <a:pt x="51" y="32"/>
                    <a:pt x="65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6" name="Freeform 157">
              <a:extLst>
                <a:ext uri="{FF2B5EF4-FFF2-40B4-BE49-F238E27FC236}">
                  <a16:creationId xmlns:a16="http://schemas.microsoft.com/office/drawing/2014/main" id="{A7A5A087-0D47-451A-B76D-9DD3A9EC4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" y="2121"/>
              <a:ext cx="102" cy="541"/>
            </a:xfrm>
            <a:custGeom>
              <a:avLst/>
              <a:gdLst>
                <a:gd name="T0" fmla="*/ 43 w 43"/>
                <a:gd name="T1" fmla="*/ 228 h 228"/>
                <a:gd name="T2" fmla="*/ 42 w 43"/>
                <a:gd name="T3" fmla="*/ 228 h 228"/>
                <a:gd name="T4" fmla="*/ 40 w 43"/>
                <a:gd name="T5" fmla="*/ 227 h 228"/>
                <a:gd name="T6" fmla="*/ 34 w 43"/>
                <a:gd name="T7" fmla="*/ 223 h 228"/>
                <a:gd name="T8" fmla="*/ 29 w 43"/>
                <a:gd name="T9" fmla="*/ 197 h 228"/>
                <a:gd name="T10" fmla="*/ 35 w 43"/>
                <a:gd name="T11" fmla="*/ 179 h 228"/>
                <a:gd name="T12" fmla="*/ 41 w 43"/>
                <a:gd name="T13" fmla="*/ 159 h 228"/>
                <a:gd name="T14" fmla="*/ 37 w 43"/>
                <a:gd name="T15" fmla="*/ 136 h 228"/>
                <a:gd name="T16" fmla="*/ 25 w 43"/>
                <a:gd name="T17" fmla="*/ 113 h 228"/>
                <a:gd name="T18" fmla="*/ 11 w 43"/>
                <a:gd name="T19" fmla="*/ 91 h 228"/>
                <a:gd name="T20" fmla="*/ 3 w 43"/>
                <a:gd name="T21" fmla="*/ 69 h 228"/>
                <a:gd name="T22" fmla="*/ 8 w 43"/>
                <a:gd name="T23" fmla="*/ 29 h 228"/>
                <a:gd name="T24" fmla="*/ 23 w 43"/>
                <a:gd name="T25" fmla="*/ 6 h 228"/>
                <a:gd name="T26" fmla="*/ 28 w 43"/>
                <a:gd name="T27" fmla="*/ 2 h 228"/>
                <a:gd name="T28" fmla="*/ 31 w 43"/>
                <a:gd name="T29" fmla="*/ 0 h 228"/>
                <a:gd name="T30" fmla="*/ 29 w 43"/>
                <a:gd name="T31" fmla="*/ 2 h 228"/>
                <a:gd name="T32" fmla="*/ 23 w 43"/>
                <a:gd name="T33" fmla="*/ 7 h 228"/>
                <a:gd name="T34" fmla="*/ 9 w 43"/>
                <a:gd name="T35" fmla="*/ 29 h 228"/>
                <a:gd name="T36" fmla="*/ 5 w 43"/>
                <a:gd name="T37" fmla="*/ 69 h 228"/>
                <a:gd name="T38" fmla="*/ 13 w 43"/>
                <a:gd name="T39" fmla="*/ 90 h 228"/>
                <a:gd name="T40" fmla="*/ 27 w 43"/>
                <a:gd name="T41" fmla="*/ 112 h 228"/>
                <a:gd name="T42" fmla="*/ 39 w 43"/>
                <a:gd name="T43" fmla="*/ 135 h 228"/>
                <a:gd name="T44" fmla="*/ 42 w 43"/>
                <a:gd name="T45" fmla="*/ 159 h 228"/>
                <a:gd name="T46" fmla="*/ 36 w 43"/>
                <a:gd name="T47" fmla="*/ 180 h 228"/>
                <a:gd name="T48" fmla="*/ 30 w 43"/>
                <a:gd name="T49" fmla="*/ 197 h 228"/>
                <a:gd name="T50" fmla="*/ 35 w 43"/>
                <a:gd name="T51" fmla="*/ 222 h 228"/>
                <a:gd name="T52" fmla="*/ 43 w 43"/>
                <a:gd name="T5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" h="228">
                  <a:moveTo>
                    <a:pt x="43" y="228"/>
                  </a:moveTo>
                  <a:cubicBezTo>
                    <a:pt x="43" y="228"/>
                    <a:pt x="43" y="228"/>
                    <a:pt x="42" y="228"/>
                  </a:cubicBezTo>
                  <a:cubicBezTo>
                    <a:pt x="42" y="228"/>
                    <a:pt x="41" y="227"/>
                    <a:pt x="40" y="227"/>
                  </a:cubicBezTo>
                  <a:cubicBezTo>
                    <a:pt x="39" y="227"/>
                    <a:pt x="36" y="225"/>
                    <a:pt x="34" y="223"/>
                  </a:cubicBezTo>
                  <a:cubicBezTo>
                    <a:pt x="30" y="218"/>
                    <a:pt x="26" y="208"/>
                    <a:pt x="29" y="197"/>
                  </a:cubicBezTo>
                  <a:cubicBezTo>
                    <a:pt x="30" y="191"/>
                    <a:pt x="32" y="185"/>
                    <a:pt x="35" y="179"/>
                  </a:cubicBezTo>
                  <a:cubicBezTo>
                    <a:pt x="37" y="173"/>
                    <a:pt x="40" y="166"/>
                    <a:pt x="41" y="159"/>
                  </a:cubicBezTo>
                  <a:cubicBezTo>
                    <a:pt x="41" y="151"/>
                    <a:pt x="40" y="143"/>
                    <a:pt x="37" y="136"/>
                  </a:cubicBezTo>
                  <a:cubicBezTo>
                    <a:pt x="34" y="128"/>
                    <a:pt x="30" y="121"/>
                    <a:pt x="25" y="113"/>
                  </a:cubicBezTo>
                  <a:cubicBezTo>
                    <a:pt x="20" y="106"/>
                    <a:pt x="15" y="99"/>
                    <a:pt x="11" y="91"/>
                  </a:cubicBezTo>
                  <a:cubicBezTo>
                    <a:pt x="7" y="84"/>
                    <a:pt x="4" y="77"/>
                    <a:pt x="3" y="69"/>
                  </a:cubicBezTo>
                  <a:cubicBezTo>
                    <a:pt x="0" y="54"/>
                    <a:pt x="3" y="40"/>
                    <a:pt x="8" y="29"/>
                  </a:cubicBezTo>
                  <a:cubicBezTo>
                    <a:pt x="12" y="18"/>
                    <a:pt x="18" y="11"/>
                    <a:pt x="23" y="6"/>
                  </a:cubicBezTo>
                  <a:cubicBezTo>
                    <a:pt x="25" y="4"/>
                    <a:pt x="27" y="3"/>
                    <a:pt x="28" y="2"/>
                  </a:cubicBezTo>
                  <a:cubicBezTo>
                    <a:pt x="30" y="1"/>
                    <a:pt x="31" y="0"/>
                    <a:pt x="31" y="0"/>
                  </a:cubicBezTo>
                  <a:cubicBezTo>
                    <a:pt x="31" y="0"/>
                    <a:pt x="30" y="1"/>
                    <a:pt x="29" y="2"/>
                  </a:cubicBezTo>
                  <a:cubicBezTo>
                    <a:pt x="27" y="3"/>
                    <a:pt x="26" y="5"/>
                    <a:pt x="23" y="7"/>
                  </a:cubicBezTo>
                  <a:cubicBezTo>
                    <a:pt x="19" y="12"/>
                    <a:pt x="13" y="19"/>
                    <a:pt x="9" y="29"/>
                  </a:cubicBezTo>
                  <a:cubicBezTo>
                    <a:pt x="5" y="40"/>
                    <a:pt x="2" y="54"/>
                    <a:pt x="5" y="69"/>
                  </a:cubicBezTo>
                  <a:cubicBezTo>
                    <a:pt x="6" y="76"/>
                    <a:pt x="9" y="83"/>
                    <a:pt x="13" y="90"/>
                  </a:cubicBezTo>
                  <a:cubicBezTo>
                    <a:pt x="17" y="98"/>
                    <a:pt x="22" y="105"/>
                    <a:pt x="27" y="112"/>
                  </a:cubicBezTo>
                  <a:cubicBezTo>
                    <a:pt x="31" y="120"/>
                    <a:pt x="36" y="127"/>
                    <a:pt x="39" y="135"/>
                  </a:cubicBezTo>
                  <a:cubicBezTo>
                    <a:pt x="41" y="143"/>
                    <a:pt x="43" y="151"/>
                    <a:pt x="42" y="159"/>
                  </a:cubicBezTo>
                  <a:cubicBezTo>
                    <a:pt x="42" y="166"/>
                    <a:pt x="39" y="173"/>
                    <a:pt x="36" y="180"/>
                  </a:cubicBezTo>
                  <a:cubicBezTo>
                    <a:pt x="34" y="186"/>
                    <a:pt x="31" y="192"/>
                    <a:pt x="30" y="197"/>
                  </a:cubicBezTo>
                  <a:cubicBezTo>
                    <a:pt x="28" y="208"/>
                    <a:pt x="31" y="218"/>
                    <a:pt x="35" y="222"/>
                  </a:cubicBezTo>
                  <a:cubicBezTo>
                    <a:pt x="39" y="227"/>
                    <a:pt x="43" y="227"/>
                    <a:pt x="43" y="22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7" name="Freeform 158">
              <a:extLst>
                <a:ext uri="{FF2B5EF4-FFF2-40B4-BE49-F238E27FC236}">
                  <a16:creationId xmlns:a16="http://schemas.microsoft.com/office/drawing/2014/main" id="{325DB2A2-6BA7-4D07-A33B-4A2D87B12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" y="3199"/>
              <a:ext cx="164" cy="359"/>
            </a:xfrm>
            <a:custGeom>
              <a:avLst/>
              <a:gdLst>
                <a:gd name="T0" fmla="*/ 32 w 69"/>
                <a:gd name="T1" fmla="*/ 2 h 151"/>
                <a:gd name="T2" fmla="*/ 62 w 69"/>
                <a:gd name="T3" fmla="*/ 31 h 151"/>
                <a:gd name="T4" fmla="*/ 69 w 69"/>
                <a:gd name="T5" fmla="*/ 72 h 151"/>
                <a:gd name="T6" fmla="*/ 41 w 69"/>
                <a:gd name="T7" fmla="*/ 151 h 151"/>
                <a:gd name="T8" fmla="*/ 5 w 69"/>
                <a:gd name="T9" fmla="*/ 81 h 151"/>
                <a:gd name="T10" fmla="*/ 32 w 69"/>
                <a:gd name="T11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151">
                  <a:moveTo>
                    <a:pt x="32" y="2"/>
                  </a:moveTo>
                  <a:cubicBezTo>
                    <a:pt x="45" y="7"/>
                    <a:pt x="56" y="18"/>
                    <a:pt x="62" y="31"/>
                  </a:cubicBezTo>
                  <a:cubicBezTo>
                    <a:pt x="68" y="43"/>
                    <a:pt x="69" y="58"/>
                    <a:pt x="69" y="72"/>
                  </a:cubicBezTo>
                  <a:cubicBezTo>
                    <a:pt x="68" y="99"/>
                    <a:pt x="55" y="128"/>
                    <a:pt x="41" y="151"/>
                  </a:cubicBezTo>
                  <a:cubicBezTo>
                    <a:pt x="16" y="133"/>
                    <a:pt x="8" y="99"/>
                    <a:pt x="5" y="81"/>
                  </a:cubicBezTo>
                  <a:cubicBezTo>
                    <a:pt x="0" y="54"/>
                    <a:pt x="8" y="0"/>
                    <a:pt x="32" y="2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8" name="Freeform 159">
              <a:extLst>
                <a:ext uri="{FF2B5EF4-FFF2-40B4-BE49-F238E27FC236}">
                  <a16:creationId xmlns:a16="http://schemas.microsoft.com/office/drawing/2014/main" id="{5EF2EF85-9306-45CE-AF8D-25A3A7C1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9" y="3508"/>
              <a:ext cx="192" cy="164"/>
            </a:xfrm>
            <a:custGeom>
              <a:avLst/>
              <a:gdLst>
                <a:gd name="T0" fmla="*/ 6 w 81"/>
                <a:gd name="T1" fmla="*/ 66 h 69"/>
                <a:gd name="T2" fmla="*/ 14 w 81"/>
                <a:gd name="T3" fmla="*/ 21 h 69"/>
                <a:gd name="T4" fmla="*/ 55 w 81"/>
                <a:gd name="T5" fmla="*/ 1 h 69"/>
                <a:gd name="T6" fmla="*/ 75 w 81"/>
                <a:gd name="T7" fmla="*/ 6 h 69"/>
                <a:gd name="T8" fmla="*/ 79 w 81"/>
                <a:gd name="T9" fmla="*/ 25 h 69"/>
                <a:gd name="T10" fmla="*/ 67 w 81"/>
                <a:gd name="T11" fmla="*/ 42 h 69"/>
                <a:gd name="T12" fmla="*/ 6 w 81"/>
                <a:gd name="T13" fmla="*/ 6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69">
                  <a:moveTo>
                    <a:pt x="6" y="66"/>
                  </a:moveTo>
                  <a:cubicBezTo>
                    <a:pt x="0" y="51"/>
                    <a:pt x="4" y="34"/>
                    <a:pt x="14" y="21"/>
                  </a:cubicBezTo>
                  <a:cubicBezTo>
                    <a:pt x="24" y="9"/>
                    <a:pt x="39" y="2"/>
                    <a:pt x="55" y="1"/>
                  </a:cubicBezTo>
                  <a:cubicBezTo>
                    <a:pt x="62" y="0"/>
                    <a:pt x="70" y="1"/>
                    <a:pt x="75" y="6"/>
                  </a:cubicBezTo>
                  <a:cubicBezTo>
                    <a:pt x="80" y="11"/>
                    <a:pt x="81" y="19"/>
                    <a:pt x="79" y="25"/>
                  </a:cubicBezTo>
                  <a:cubicBezTo>
                    <a:pt x="77" y="32"/>
                    <a:pt x="72" y="37"/>
                    <a:pt x="67" y="42"/>
                  </a:cubicBezTo>
                  <a:cubicBezTo>
                    <a:pt x="49" y="57"/>
                    <a:pt x="30" y="69"/>
                    <a:pt x="6" y="66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9" name="Freeform 160">
              <a:extLst>
                <a:ext uri="{FF2B5EF4-FFF2-40B4-BE49-F238E27FC236}">
                  <a16:creationId xmlns:a16="http://schemas.microsoft.com/office/drawing/2014/main" id="{610270C8-FA42-405D-97C2-96047EB2F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8" y="3572"/>
              <a:ext cx="157" cy="288"/>
            </a:xfrm>
            <a:custGeom>
              <a:avLst/>
              <a:gdLst>
                <a:gd name="T0" fmla="*/ 1 w 66"/>
                <a:gd name="T1" fmla="*/ 121 h 121"/>
                <a:gd name="T2" fmla="*/ 1 w 66"/>
                <a:gd name="T3" fmla="*/ 115 h 121"/>
                <a:gd name="T4" fmla="*/ 3 w 66"/>
                <a:gd name="T5" fmla="*/ 100 h 121"/>
                <a:gd name="T6" fmla="*/ 15 w 66"/>
                <a:gd name="T7" fmla="*/ 50 h 121"/>
                <a:gd name="T8" fmla="*/ 47 w 66"/>
                <a:gd name="T9" fmla="*/ 9 h 121"/>
                <a:gd name="T10" fmla="*/ 61 w 66"/>
                <a:gd name="T11" fmla="*/ 2 h 121"/>
                <a:gd name="T12" fmla="*/ 66 w 66"/>
                <a:gd name="T13" fmla="*/ 0 h 121"/>
                <a:gd name="T14" fmla="*/ 48 w 66"/>
                <a:gd name="T15" fmla="*/ 11 h 121"/>
                <a:gd name="T16" fmla="*/ 18 w 66"/>
                <a:gd name="T17" fmla="*/ 51 h 121"/>
                <a:gd name="T18" fmla="*/ 5 w 66"/>
                <a:gd name="T19" fmla="*/ 100 h 121"/>
                <a:gd name="T20" fmla="*/ 1 w 66"/>
                <a:gd name="T21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1">
                  <a:moveTo>
                    <a:pt x="1" y="121"/>
                  </a:moveTo>
                  <a:cubicBezTo>
                    <a:pt x="0" y="121"/>
                    <a:pt x="1" y="119"/>
                    <a:pt x="1" y="115"/>
                  </a:cubicBezTo>
                  <a:cubicBezTo>
                    <a:pt x="1" y="112"/>
                    <a:pt x="2" y="106"/>
                    <a:pt x="3" y="100"/>
                  </a:cubicBezTo>
                  <a:cubicBezTo>
                    <a:pt x="4" y="87"/>
                    <a:pt x="7" y="69"/>
                    <a:pt x="15" y="50"/>
                  </a:cubicBezTo>
                  <a:cubicBezTo>
                    <a:pt x="23" y="31"/>
                    <a:pt x="36" y="17"/>
                    <a:pt x="47" y="9"/>
                  </a:cubicBezTo>
                  <a:cubicBezTo>
                    <a:pt x="52" y="6"/>
                    <a:pt x="57" y="3"/>
                    <a:pt x="61" y="2"/>
                  </a:cubicBezTo>
                  <a:cubicBezTo>
                    <a:pt x="64" y="1"/>
                    <a:pt x="66" y="0"/>
                    <a:pt x="66" y="0"/>
                  </a:cubicBezTo>
                  <a:cubicBezTo>
                    <a:pt x="66" y="1"/>
                    <a:pt x="58" y="3"/>
                    <a:pt x="48" y="11"/>
                  </a:cubicBezTo>
                  <a:cubicBezTo>
                    <a:pt x="38" y="19"/>
                    <a:pt x="26" y="33"/>
                    <a:pt x="18" y="51"/>
                  </a:cubicBezTo>
                  <a:cubicBezTo>
                    <a:pt x="10" y="69"/>
                    <a:pt x="7" y="87"/>
                    <a:pt x="5" y="100"/>
                  </a:cubicBezTo>
                  <a:cubicBezTo>
                    <a:pt x="2" y="113"/>
                    <a:pt x="1" y="121"/>
                    <a:pt x="1" y="1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0" name="Freeform 161">
              <a:extLst>
                <a:ext uri="{FF2B5EF4-FFF2-40B4-BE49-F238E27FC236}">
                  <a16:creationId xmlns:a16="http://schemas.microsoft.com/office/drawing/2014/main" id="{96EDB813-FBB7-49FD-A1A1-B894B0985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" y="3304"/>
              <a:ext cx="50" cy="567"/>
            </a:xfrm>
            <a:custGeom>
              <a:avLst/>
              <a:gdLst>
                <a:gd name="T0" fmla="*/ 0 w 21"/>
                <a:gd name="T1" fmla="*/ 0 h 239"/>
                <a:gd name="T2" fmla="*/ 2 w 21"/>
                <a:gd name="T3" fmla="*/ 9 h 239"/>
                <a:gd name="T4" fmla="*/ 6 w 21"/>
                <a:gd name="T5" fmla="*/ 34 h 239"/>
                <a:gd name="T6" fmla="*/ 14 w 21"/>
                <a:gd name="T7" fmla="*/ 119 h 239"/>
                <a:gd name="T8" fmla="*/ 20 w 21"/>
                <a:gd name="T9" fmla="*/ 204 h 239"/>
                <a:gd name="T10" fmla="*/ 21 w 21"/>
                <a:gd name="T11" fmla="*/ 229 h 239"/>
                <a:gd name="T12" fmla="*/ 21 w 21"/>
                <a:gd name="T13" fmla="*/ 239 h 239"/>
                <a:gd name="T14" fmla="*/ 20 w 21"/>
                <a:gd name="T15" fmla="*/ 229 h 239"/>
                <a:gd name="T16" fmla="*/ 18 w 21"/>
                <a:gd name="T17" fmla="*/ 204 h 239"/>
                <a:gd name="T18" fmla="*/ 11 w 21"/>
                <a:gd name="T19" fmla="*/ 119 h 239"/>
                <a:gd name="T20" fmla="*/ 3 w 21"/>
                <a:gd name="T21" fmla="*/ 35 h 239"/>
                <a:gd name="T22" fmla="*/ 1 w 21"/>
                <a:gd name="T23" fmla="*/ 9 h 239"/>
                <a:gd name="T24" fmla="*/ 0 w 21"/>
                <a:gd name="T2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39">
                  <a:moveTo>
                    <a:pt x="0" y="0"/>
                  </a:moveTo>
                  <a:cubicBezTo>
                    <a:pt x="1" y="0"/>
                    <a:pt x="1" y="3"/>
                    <a:pt x="2" y="9"/>
                  </a:cubicBezTo>
                  <a:cubicBezTo>
                    <a:pt x="3" y="15"/>
                    <a:pt x="4" y="24"/>
                    <a:pt x="6" y="34"/>
                  </a:cubicBezTo>
                  <a:cubicBezTo>
                    <a:pt x="8" y="56"/>
                    <a:pt x="12" y="86"/>
                    <a:pt x="14" y="119"/>
                  </a:cubicBezTo>
                  <a:cubicBezTo>
                    <a:pt x="17" y="152"/>
                    <a:pt x="19" y="182"/>
                    <a:pt x="20" y="204"/>
                  </a:cubicBezTo>
                  <a:cubicBezTo>
                    <a:pt x="21" y="215"/>
                    <a:pt x="21" y="223"/>
                    <a:pt x="21" y="229"/>
                  </a:cubicBezTo>
                  <a:cubicBezTo>
                    <a:pt x="21" y="235"/>
                    <a:pt x="21" y="239"/>
                    <a:pt x="21" y="239"/>
                  </a:cubicBezTo>
                  <a:cubicBezTo>
                    <a:pt x="21" y="239"/>
                    <a:pt x="20" y="236"/>
                    <a:pt x="20" y="229"/>
                  </a:cubicBezTo>
                  <a:cubicBezTo>
                    <a:pt x="19" y="223"/>
                    <a:pt x="19" y="214"/>
                    <a:pt x="18" y="204"/>
                  </a:cubicBezTo>
                  <a:cubicBezTo>
                    <a:pt x="16" y="182"/>
                    <a:pt x="14" y="152"/>
                    <a:pt x="11" y="119"/>
                  </a:cubicBezTo>
                  <a:cubicBezTo>
                    <a:pt x="9" y="86"/>
                    <a:pt x="6" y="56"/>
                    <a:pt x="3" y="35"/>
                  </a:cubicBezTo>
                  <a:cubicBezTo>
                    <a:pt x="2" y="24"/>
                    <a:pt x="2" y="16"/>
                    <a:pt x="1" y="9"/>
                  </a:cubicBezTo>
                  <a:cubicBezTo>
                    <a:pt x="0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1" name="Freeform 162">
              <a:extLst>
                <a:ext uri="{FF2B5EF4-FFF2-40B4-BE49-F238E27FC236}">
                  <a16:creationId xmlns:a16="http://schemas.microsoft.com/office/drawing/2014/main" id="{4D691758-7CA4-4AE8-AE21-28C905B5F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" y="3522"/>
              <a:ext cx="218" cy="197"/>
            </a:xfrm>
            <a:custGeom>
              <a:avLst/>
              <a:gdLst>
                <a:gd name="T0" fmla="*/ 92 w 92"/>
                <a:gd name="T1" fmla="*/ 78 h 83"/>
                <a:gd name="T2" fmla="*/ 29 w 92"/>
                <a:gd name="T3" fmla="*/ 5 h 83"/>
                <a:gd name="T4" fmla="*/ 6 w 92"/>
                <a:gd name="T5" fmla="*/ 6 h 83"/>
                <a:gd name="T6" fmla="*/ 5 w 92"/>
                <a:gd name="T7" fmla="*/ 30 h 83"/>
                <a:gd name="T8" fmla="*/ 91 w 92"/>
                <a:gd name="T9" fmla="*/ 8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83">
                  <a:moveTo>
                    <a:pt x="92" y="78"/>
                  </a:moveTo>
                  <a:cubicBezTo>
                    <a:pt x="84" y="46"/>
                    <a:pt x="60" y="17"/>
                    <a:pt x="29" y="5"/>
                  </a:cubicBezTo>
                  <a:cubicBezTo>
                    <a:pt x="22" y="2"/>
                    <a:pt x="11" y="0"/>
                    <a:pt x="6" y="6"/>
                  </a:cubicBezTo>
                  <a:cubicBezTo>
                    <a:pt x="0" y="13"/>
                    <a:pt x="2" y="23"/>
                    <a:pt x="5" y="30"/>
                  </a:cubicBezTo>
                  <a:cubicBezTo>
                    <a:pt x="20" y="62"/>
                    <a:pt x="56" y="83"/>
                    <a:pt x="91" y="8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2" name="Freeform 163">
              <a:extLst>
                <a:ext uri="{FF2B5EF4-FFF2-40B4-BE49-F238E27FC236}">
                  <a16:creationId xmlns:a16="http://schemas.microsoft.com/office/drawing/2014/main" id="{CBF08A2E-C8D6-4482-87E7-66290729D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" y="3593"/>
              <a:ext cx="181" cy="257"/>
            </a:xfrm>
            <a:custGeom>
              <a:avLst/>
              <a:gdLst>
                <a:gd name="T0" fmla="*/ 0 w 76"/>
                <a:gd name="T1" fmla="*/ 0 h 108"/>
                <a:gd name="T2" fmla="*/ 5 w 76"/>
                <a:gd name="T3" fmla="*/ 2 h 108"/>
                <a:gd name="T4" fmla="*/ 11 w 76"/>
                <a:gd name="T5" fmla="*/ 4 h 108"/>
                <a:gd name="T6" fmla="*/ 19 w 76"/>
                <a:gd name="T7" fmla="*/ 8 h 108"/>
                <a:gd name="T8" fmla="*/ 37 w 76"/>
                <a:gd name="T9" fmla="*/ 21 h 108"/>
                <a:gd name="T10" fmla="*/ 55 w 76"/>
                <a:gd name="T11" fmla="*/ 42 h 108"/>
                <a:gd name="T12" fmla="*/ 68 w 76"/>
                <a:gd name="T13" fmla="*/ 66 h 108"/>
                <a:gd name="T14" fmla="*/ 74 w 76"/>
                <a:gd name="T15" fmla="*/ 87 h 108"/>
                <a:gd name="T16" fmla="*/ 75 w 76"/>
                <a:gd name="T17" fmla="*/ 96 h 108"/>
                <a:gd name="T18" fmla="*/ 75 w 76"/>
                <a:gd name="T19" fmla="*/ 102 h 108"/>
                <a:gd name="T20" fmla="*/ 75 w 76"/>
                <a:gd name="T21" fmla="*/ 108 h 108"/>
                <a:gd name="T22" fmla="*/ 72 w 76"/>
                <a:gd name="T23" fmla="*/ 88 h 108"/>
                <a:gd name="T24" fmla="*/ 65 w 76"/>
                <a:gd name="T25" fmla="*/ 67 h 108"/>
                <a:gd name="T26" fmla="*/ 52 w 76"/>
                <a:gd name="T27" fmla="*/ 44 h 108"/>
                <a:gd name="T28" fmla="*/ 35 w 76"/>
                <a:gd name="T29" fmla="*/ 24 h 108"/>
                <a:gd name="T30" fmla="*/ 18 w 76"/>
                <a:gd name="T31" fmla="*/ 10 h 108"/>
                <a:gd name="T32" fmla="*/ 0 w 76"/>
                <a:gd name="T3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108">
                  <a:moveTo>
                    <a:pt x="0" y="0"/>
                  </a:moveTo>
                  <a:cubicBezTo>
                    <a:pt x="0" y="0"/>
                    <a:pt x="2" y="1"/>
                    <a:pt x="5" y="2"/>
                  </a:cubicBezTo>
                  <a:cubicBezTo>
                    <a:pt x="7" y="3"/>
                    <a:pt x="9" y="3"/>
                    <a:pt x="11" y="4"/>
                  </a:cubicBezTo>
                  <a:cubicBezTo>
                    <a:pt x="13" y="6"/>
                    <a:pt x="16" y="7"/>
                    <a:pt x="19" y="8"/>
                  </a:cubicBezTo>
                  <a:cubicBezTo>
                    <a:pt x="24" y="12"/>
                    <a:pt x="30" y="16"/>
                    <a:pt x="37" y="21"/>
                  </a:cubicBezTo>
                  <a:cubicBezTo>
                    <a:pt x="43" y="27"/>
                    <a:pt x="49" y="34"/>
                    <a:pt x="55" y="42"/>
                  </a:cubicBezTo>
                  <a:cubicBezTo>
                    <a:pt x="60" y="50"/>
                    <a:pt x="65" y="58"/>
                    <a:pt x="68" y="66"/>
                  </a:cubicBezTo>
                  <a:cubicBezTo>
                    <a:pt x="71" y="74"/>
                    <a:pt x="73" y="81"/>
                    <a:pt x="74" y="87"/>
                  </a:cubicBezTo>
                  <a:cubicBezTo>
                    <a:pt x="75" y="90"/>
                    <a:pt x="75" y="93"/>
                    <a:pt x="75" y="96"/>
                  </a:cubicBezTo>
                  <a:cubicBezTo>
                    <a:pt x="75" y="98"/>
                    <a:pt x="76" y="100"/>
                    <a:pt x="75" y="102"/>
                  </a:cubicBezTo>
                  <a:cubicBezTo>
                    <a:pt x="75" y="106"/>
                    <a:pt x="75" y="108"/>
                    <a:pt x="75" y="108"/>
                  </a:cubicBezTo>
                  <a:cubicBezTo>
                    <a:pt x="75" y="108"/>
                    <a:pt x="75" y="100"/>
                    <a:pt x="72" y="88"/>
                  </a:cubicBezTo>
                  <a:cubicBezTo>
                    <a:pt x="71" y="82"/>
                    <a:pt x="68" y="74"/>
                    <a:pt x="65" y="67"/>
                  </a:cubicBezTo>
                  <a:cubicBezTo>
                    <a:pt x="62" y="59"/>
                    <a:pt x="58" y="51"/>
                    <a:pt x="52" y="44"/>
                  </a:cubicBezTo>
                  <a:cubicBezTo>
                    <a:pt x="47" y="36"/>
                    <a:pt x="41" y="29"/>
                    <a:pt x="35" y="24"/>
                  </a:cubicBezTo>
                  <a:cubicBezTo>
                    <a:pt x="29" y="18"/>
                    <a:pt x="23" y="14"/>
                    <a:pt x="18" y="10"/>
                  </a:cubicBezTo>
                  <a:cubicBezTo>
                    <a:pt x="7" y="4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370" name="Freeform 17">
            <a:extLst>
              <a:ext uri="{FF2B5EF4-FFF2-40B4-BE49-F238E27FC236}">
                <a16:creationId xmlns:a16="http://schemas.microsoft.com/office/drawing/2014/main" id="{81A2D0F9-0399-4AFA-91AD-2CD0875BD723}"/>
              </a:ext>
            </a:extLst>
          </p:cNvPr>
          <p:cNvSpPr>
            <a:spLocks/>
          </p:cNvSpPr>
          <p:nvPr/>
        </p:nvSpPr>
        <p:spPr bwMode="auto">
          <a:xfrm>
            <a:off x="6416561" y="3173530"/>
            <a:ext cx="301215" cy="260080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2" name="Freeform 17">
            <a:extLst>
              <a:ext uri="{FF2B5EF4-FFF2-40B4-BE49-F238E27FC236}">
                <a16:creationId xmlns:a16="http://schemas.microsoft.com/office/drawing/2014/main" id="{68DE9F9C-8BE7-4452-9CB9-6E046D71081A}"/>
              </a:ext>
            </a:extLst>
          </p:cNvPr>
          <p:cNvSpPr>
            <a:spLocks/>
          </p:cNvSpPr>
          <p:nvPr/>
        </p:nvSpPr>
        <p:spPr bwMode="auto">
          <a:xfrm>
            <a:off x="6416561" y="5564413"/>
            <a:ext cx="301215" cy="260080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0666421-80BC-051F-8991-4525D9E6EC7F}"/>
              </a:ext>
            </a:extLst>
          </p:cNvPr>
          <p:cNvSpPr/>
          <p:nvPr/>
        </p:nvSpPr>
        <p:spPr>
          <a:xfrm>
            <a:off x="2620014" y="3391786"/>
            <a:ext cx="4476245" cy="592087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13C5F36-FFFA-A235-E52F-5B060CECBBDB}"/>
              </a:ext>
            </a:extLst>
          </p:cNvPr>
          <p:cNvSpPr/>
          <p:nvPr/>
        </p:nvSpPr>
        <p:spPr>
          <a:xfrm>
            <a:off x="2489106" y="3367825"/>
            <a:ext cx="633351" cy="633351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2700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9D5259-FDC8-F25D-4164-66DECB526F6E}"/>
              </a:ext>
            </a:extLst>
          </p:cNvPr>
          <p:cNvSpPr txBox="1"/>
          <p:nvPr/>
        </p:nvSpPr>
        <p:spPr>
          <a:xfrm>
            <a:off x="3388572" y="3510233"/>
            <a:ext cx="3865880" cy="3551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ID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l ToDo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20F91E7-DA5A-3331-585E-4E367E50557F}"/>
              </a:ext>
            </a:extLst>
          </p:cNvPr>
          <p:cNvSpPr/>
          <p:nvPr/>
        </p:nvSpPr>
        <p:spPr>
          <a:xfrm>
            <a:off x="2620014" y="4236944"/>
            <a:ext cx="4476245" cy="592087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8A4F45D-DEE7-C9E9-B5C1-7F4F417895CB}"/>
              </a:ext>
            </a:extLst>
          </p:cNvPr>
          <p:cNvSpPr/>
          <p:nvPr/>
        </p:nvSpPr>
        <p:spPr>
          <a:xfrm>
            <a:off x="2489106" y="4212983"/>
            <a:ext cx="633351" cy="633351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2700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46BE22-97F7-493F-527D-5608E00AFCBD}"/>
              </a:ext>
            </a:extLst>
          </p:cNvPr>
          <p:cNvSpPr txBox="1"/>
          <p:nvPr/>
        </p:nvSpPr>
        <p:spPr>
          <a:xfrm>
            <a:off x="3388572" y="4355391"/>
            <a:ext cx="3865880" cy="3551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ID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leted ToDo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26E1708-2F3C-8DC8-A6F7-7C8145379237}"/>
              </a:ext>
            </a:extLst>
          </p:cNvPr>
          <p:cNvSpPr/>
          <p:nvPr/>
        </p:nvSpPr>
        <p:spPr>
          <a:xfrm>
            <a:off x="2620015" y="5082102"/>
            <a:ext cx="4488972" cy="592087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562C68D-CAF1-7E62-416C-ACAF63164A67}"/>
              </a:ext>
            </a:extLst>
          </p:cNvPr>
          <p:cNvSpPr/>
          <p:nvPr/>
        </p:nvSpPr>
        <p:spPr>
          <a:xfrm>
            <a:off x="2489106" y="5058141"/>
            <a:ext cx="633351" cy="633351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2700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86E88F-EF95-D43C-4A1A-9082A9812249}"/>
              </a:ext>
            </a:extLst>
          </p:cNvPr>
          <p:cNvSpPr txBox="1"/>
          <p:nvPr/>
        </p:nvSpPr>
        <p:spPr>
          <a:xfrm>
            <a:off x="3388572" y="5256598"/>
            <a:ext cx="3865880" cy="3551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ID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t Completed ToDos 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D7E002B-1A03-AFAF-8375-034649F361AE}"/>
              </a:ext>
            </a:extLst>
          </p:cNvPr>
          <p:cNvSpPr>
            <a:spLocks/>
          </p:cNvSpPr>
          <p:nvPr/>
        </p:nvSpPr>
        <p:spPr bwMode="auto">
          <a:xfrm>
            <a:off x="2668865" y="3566282"/>
            <a:ext cx="273832" cy="2364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9" name="Freeform 17">
            <a:extLst>
              <a:ext uri="{FF2B5EF4-FFF2-40B4-BE49-F238E27FC236}">
                <a16:creationId xmlns:a16="http://schemas.microsoft.com/office/drawing/2014/main" id="{32C49B8D-2FBC-0814-A45C-A4CDAFA83914}"/>
              </a:ext>
            </a:extLst>
          </p:cNvPr>
          <p:cNvSpPr>
            <a:spLocks/>
          </p:cNvSpPr>
          <p:nvPr/>
        </p:nvSpPr>
        <p:spPr bwMode="auto">
          <a:xfrm>
            <a:off x="2668865" y="4411440"/>
            <a:ext cx="273832" cy="2364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8431EE1F-F64C-0F2C-79D0-361DBB8C900F}"/>
              </a:ext>
            </a:extLst>
          </p:cNvPr>
          <p:cNvSpPr>
            <a:spLocks/>
          </p:cNvSpPr>
          <p:nvPr/>
        </p:nvSpPr>
        <p:spPr bwMode="auto">
          <a:xfrm>
            <a:off x="2668865" y="5256598"/>
            <a:ext cx="273832" cy="2364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2ADDFA8-1211-EBE1-88B5-1FD5016A7C56}"/>
              </a:ext>
            </a:extLst>
          </p:cNvPr>
          <p:cNvSpPr/>
          <p:nvPr/>
        </p:nvSpPr>
        <p:spPr>
          <a:xfrm>
            <a:off x="824049" y="2127396"/>
            <a:ext cx="7457066" cy="592087"/>
          </a:xfrm>
          <a:prstGeom prst="round2SameRect">
            <a:avLst>
              <a:gd name="adj1" fmla="val 19318"/>
              <a:gd name="adj2" fmla="val 0"/>
            </a:avLst>
          </a:prstGeom>
          <a:solidFill>
            <a:schemeClr val="accent4">
              <a:lumMod val="75000"/>
            </a:schemeClr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Users can manage </a:t>
            </a:r>
            <a:r>
              <a:rPr lang="en-ID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ir</a:t>
            </a:r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Do</a:t>
            </a:r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asks by categories like…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DE90578-EDBE-AD51-958B-3261D1EA53C2}"/>
              </a:ext>
            </a:extLst>
          </p:cNvPr>
          <p:cNvGrpSpPr/>
          <p:nvPr/>
        </p:nvGrpSpPr>
        <p:grpSpPr>
          <a:xfrm>
            <a:off x="533867" y="2128045"/>
            <a:ext cx="580363" cy="591438"/>
            <a:chOff x="3225338" y="3574473"/>
            <a:chExt cx="415637" cy="415637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41A6CE2-76C0-69ED-1172-2E50E7DAC6C8}"/>
                </a:ext>
              </a:extLst>
            </p:cNvPr>
            <p:cNvSpPr/>
            <p:nvPr/>
          </p:nvSpPr>
          <p:spPr>
            <a:xfrm>
              <a:off x="3225338" y="3574473"/>
              <a:ext cx="415637" cy="41563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3" name="Freeform 17">
              <a:extLst>
                <a:ext uri="{FF2B5EF4-FFF2-40B4-BE49-F238E27FC236}">
                  <a16:creationId xmlns:a16="http://schemas.microsoft.com/office/drawing/2014/main" id="{B6EDCDBE-F9E1-E2E8-AB5C-4DC227CF8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588" y="3691140"/>
              <a:ext cx="211137" cy="182303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6493002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tangle 197">
            <a:extLst>
              <a:ext uri="{FF2B5EF4-FFF2-40B4-BE49-F238E27FC236}">
                <a16:creationId xmlns:a16="http://schemas.microsoft.com/office/drawing/2014/main" id="{1E17EFDD-CE80-475E-B9C6-DA1747FE9CF0}"/>
              </a:ext>
            </a:extLst>
          </p:cNvPr>
          <p:cNvSpPr/>
          <p:nvPr/>
        </p:nvSpPr>
        <p:spPr>
          <a:xfrm>
            <a:off x="0" y="0"/>
            <a:ext cx="12192000" cy="1438648"/>
          </a:xfrm>
          <a:prstGeom prst="rect">
            <a:avLst/>
          </a:pr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D578A6-65DF-4C08-8069-72D63D865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485" y="183211"/>
            <a:ext cx="11136086" cy="970189"/>
          </a:xfrm>
        </p:spPr>
        <p:txBody>
          <a:bodyPr>
            <a:normAutofit/>
          </a:bodyPr>
          <a:lstStyle/>
          <a:p>
            <a:pPr algn="ctr"/>
            <a:r>
              <a:rPr lang="en-IN" sz="3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UTURE   DEVELOPMENT</a:t>
            </a:r>
            <a:endParaRPr lang="en-ID" sz="35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E4B78C-127D-4FAF-B677-DEA5B7116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9</a:t>
            </a:fld>
            <a:endParaRPr lang="en-ID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52032F2-450D-4EAA-8661-C9FDE6D33033}"/>
              </a:ext>
            </a:extLst>
          </p:cNvPr>
          <p:cNvGrpSpPr/>
          <p:nvPr/>
        </p:nvGrpSpPr>
        <p:grpSpPr>
          <a:xfrm>
            <a:off x="0" y="1468192"/>
            <a:ext cx="2644945" cy="4542802"/>
            <a:chOff x="1567875" y="7481852"/>
            <a:chExt cx="2909440" cy="4300417"/>
          </a:xfrm>
        </p:grpSpPr>
        <p:sp>
          <p:nvSpPr>
            <p:cNvPr id="54" name="Rectangle 52">
              <a:extLst>
                <a:ext uri="{FF2B5EF4-FFF2-40B4-BE49-F238E27FC236}">
                  <a16:creationId xmlns:a16="http://schemas.microsoft.com/office/drawing/2014/main" id="{C9EE31FF-A6EC-4C3B-9020-2011972A63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875" y="7798672"/>
              <a:ext cx="2909440" cy="3983597"/>
            </a:xfrm>
            <a:prstGeom prst="rect">
              <a:avLst/>
            </a:pr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55" name="Rectangle 53">
              <a:extLst>
                <a:ext uri="{FF2B5EF4-FFF2-40B4-BE49-F238E27FC236}">
                  <a16:creationId xmlns:a16="http://schemas.microsoft.com/office/drawing/2014/main" id="{2BC213A9-3423-4F90-B585-163A98393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875" y="7798672"/>
              <a:ext cx="2909440" cy="3983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56" name="Freeform 54">
              <a:extLst>
                <a:ext uri="{FF2B5EF4-FFF2-40B4-BE49-F238E27FC236}">
                  <a16:creationId xmlns:a16="http://schemas.microsoft.com/office/drawing/2014/main" id="{478EB35A-7783-41CF-8CFD-82C40A0E2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224" y="7957713"/>
              <a:ext cx="2550966" cy="3587257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7" name="Freeform 55">
              <a:extLst>
                <a:ext uri="{FF2B5EF4-FFF2-40B4-BE49-F238E27FC236}">
                  <a16:creationId xmlns:a16="http://schemas.microsoft.com/office/drawing/2014/main" id="{E7F085C3-ABBC-4D80-B119-B9A05730C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224" y="7957713"/>
              <a:ext cx="2550966" cy="3587257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8" name="Freeform 56">
              <a:extLst>
                <a:ext uri="{FF2B5EF4-FFF2-40B4-BE49-F238E27FC236}">
                  <a16:creationId xmlns:a16="http://schemas.microsoft.com/office/drawing/2014/main" id="{913C4700-C545-4A41-9421-99E73AD6E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52" y="7909748"/>
              <a:ext cx="2529509" cy="3569586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9" name="Freeform 57">
              <a:extLst>
                <a:ext uri="{FF2B5EF4-FFF2-40B4-BE49-F238E27FC236}">
                  <a16:creationId xmlns:a16="http://schemas.microsoft.com/office/drawing/2014/main" id="{E3632253-F687-45C9-B1A6-026B65C3D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52" y="7909748"/>
              <a:ext cx="2529509" cy="3569586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0" name="Freeform 58">
              <a:extLst>
                <a:ext uri="{FF2B5EF4-FFF2-40B4-BE49-F238E27FC236}">
                  <a16:creationId xmlns:a16="http://schemas.microsoft.com/office/drawing/2014/main" id="{8B2D3F39-2525-4BB5-8DAD-CC4E7E083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2" y="7918584"/>
              <a:ext cx="2550966" cy="3519097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61" name="Freeform 59">
              <a:extLst>
                <a:ext uri="{FF2B5EF4-FFF2-40B4-BE49-F238E27FC236}">
                  <a16:creationId xmlns:a16="http://schemas.microsoft.com/office/drawing/2014/main" id="{0FCC4517-DD5C-408C-B6E6-49E79A236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2" y="7918584"/>
              <a:ext cx="2550966" cy="3519097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2" name="Freeform 60">
              <a:extLst>
                <a:ext uri="{FF2B5EF4-FFF2-40B4-BE49-F238E27FC236}">
                  <a16:creationId xmlns:a16="http://schemas.microsoft.com/office/drawing/2014/main" id="{5A2BD355-FAC7-4F2B-BE17-C7FA62F7D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588" y="7916060"/>
              <a:ext cx="2556015" cy="3524146"/>
            </a:xfrm>
            <a:custGeom>
              <a:avLst/>
              <a:gdLst>
                <a:gd name="T0" fmla="*/ 769 w 853"/>
                <a:gd name="T1" fmla="*/ 1096 h 1176"/>
                <a:gd name="T2" fmla="*/ 774 w 853"/>
                <a:gd name="T3" fmla="*/ 1092 h 1176"/>
                <a:gd name="T4" fmla="*/ 790 w 853"/>
                <a:gd name="T5" fmla="*/ 1079 h 1176"/>
                <a:gd name="T6" fmla="*/ 851 w 853"/>
                <a:gd name="T7" fmla="*/ 1029 h 1176"/>
                <a:gd name="T8" fmla="*/ 851 w 853"/>
                <a:gd name="T9" fmla="*/ 1029 h 1176"/>
                <a:gd name="T10" fmla="*/ 851 w 853"/>
                <a:gd name="T11" fmla="*/ 1 h 1176"/>
                <a:gd name="T12" fmla="*/ 852 w 853"/>
                <a:gd name="T13" fmla="*/ 2 h 1176"/>
                <a:gd name="T14" fmla="*/ 8 w 853"/>
                <a:gd name="T15" fmla="*/ 3 h 1176"/>
                <a:gd name="T16" fmla="*/ 1 w 853"/>
                <a:gd name="T17" fmla="*/ 3 h 1176"/>
                <a:gd name="T18" fmla="*/ 2 w 853"/>
                <a:gd name="T19" fmla="*/ 1 h 1176"/>
                <a:gd name="T20" fmla="*/ 2 w 853"/>
                <a:gd name="T21" fmla="*/ 1175 h 1176"/>
                <a:gd name="T22" fmla="*/ 1 w 853"/>
                <a:gd name="T23" fmla="*/ 1174 h 1176"/>
                <a:gd name="T24" fmla="*/ 672 w 853"/>
                <a:gd name="T25" fmla="*/ 1175 h 1176"/>
                <a:gd name="T26" fmla="*/ 672 w 853"/>
                <a:gd name="T27" fmla="*/ 1175 h 1176"/>
                <a:gd name="T28" fmla="*/ 745 w 853"/>
                <a:gd name="T29" fmla="*/ 1116 h 1176"/>
                <a:gd name="T30" fmla="*/ 763 w 853"/>
                <a:gd name="T31" fmla="*/ 1101 h 1176"/>
                <a:gd name="T32" fmla="*/ 769 w 853"/>
                <a:gd name="T33" fmla="*/ 1096 h 1176"/>
                <a:gd name="T34" fmla="*/ 763 w 853"/>
                <a:gd name="T35" fmla="*/ 1101 h 1176"/>
                <a:gd name="T36" fmla="*/ 745 w 853"/>
                <a:gd name="T37" fmla="*/ 1116 h 1176"/>
                <a:gd name="T38" fmla="*/ 672 w 853"/>
                <a:gd name="T39" fmla="*/ 1175 h 1176"/>
                <a:gd name="T40" fmla="*/ 672 w 853"/>
                <a:gd name="T41" fmla="*/ 1175 h 1176"/>
                <a:gd name="T42" fmla="*/ 672 w 853"/>
                <a:gd name="T43" fmla="*/ 1175 h 1176"/>
                <a:gd name="T44" fmla="*/ 1 w 853"/>
                <a:gd name="T45" fmla="*/ 1176 h 1176"/>
                <a:gd name="T46" fmla="*/ 0 w 853"/>
                <a:gd name="T47" fmla="*/ 1176 h 1176"/>
                <a:gd name="T48" fmla="*/ 0 w 853"/>
                <a:gd name="T49" fmla="*/ 1175 h 1176"/>
                <a:gd name="T50" fmla="*/ 0 w 853"/>
                <a:gd name="T51" fmla="*/ 1 h 1176"/>
                <a:gd name="T52" fmla="*/ 0 w 853"/>
                <a:gd name="T53" fmla="*/ 0 h 1176"/>
                <a:gd name="T54" fmla="*/ 1 w 853"/>
                <a:gd name="T55" fmla="*/ 0 h 1176"/>
                <a:gd name="T56" fmla="*/ 8 w 853"/>
                <a:gd name="T57" fmla="*/ 0 h 1176"/>
                <a:gd name="T58" fmla="*/ 852 w 853"/>
                <a:gd name="T59" fmla="*/ 1 h 1176"/>
                <a:gd name="T60" fmla="*/ 853 w 853"/>
                <a:gd name="T61" fmla="*/ 1 h 1176"/>
                <a:gd name="T62" fmla="*/ 853 w 853"/>
                <a:gd name="T63" fmla="*/ 1 h 1176"/>
                <a:gd name="T64" fmla="*/ 852 w 853"/>
                <a:gd name="T65" fmla="*/ 1029 h 1176"/>
                <a:gd name="T66" fmla="*/ 852 w 853"/>
                <a:gd name="T67" fmla="*/ 1029 h 1176"/>
                <a:gd name="T68" fmla="*/ 852 w 853"/>
                <a:gd name="T69" fmla="*/ 1029 h 1176"/>
                <a:gd name="T70" fmla="*/ 790 w 853"/>
                <a:gd name="T71" fmla="*/ 1079 h 1176"/>
                <a:gd name="T72" fmla="*/ 774 w 853"/>
                <a:gd name="T73" fmla="*/ 1092 h 1176"/>
                <a:gd name="T74" fmla="*/ 769 w 853"/>
                <a:gd name="T75" fmla="*/ 109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3" h="1176">
                  <a:moveTo>
                    <a:pt x="769" y="1096"/>
                  </a:moveTo>
                  <a:cubicBezTo>
                    <a:pt x="769" y="1096"/>
                    <a:pt x="771" y="1094"/>
                    <a:pt x="774" y="1092"/>
                  </a:cubicBezTo>
                  <a:cubicBezTo>
                    <a:pt x="778" y="1089"/>
                    <a:pt x="783" y="1084"/>
                    <a:pt x="790" y="1079"/>
                  </a:cubicBezTo>
                  <a:cubicBezTo>
                    <a:pt x="804" y="1068"/>
                    <a:pt x="824" y="1051"/>
                    <a:pt x="851" y="1029"/>
                  </a:cubicBezTo>
                  <a:cubicBezTo>
                    <a:pt x="851" y="1029"/>
                    <a:pt x="851" y="1029"/>
                    <a:pt x="851" y="1029"/>
                  </a:cubicBezTo>
                  <a:cubicBezTo>
                    <a:pt x="851" y="860"/>
                    <a:pt x="851" y="485"/>
                    <a:pt x="851" y="1"/>
                  </a:cubicBezTo>
                  <a:cubicBezTo>
                    <a:pt x="852" y="2"/>
                    <a:pt x="852" y="2"/>
                    <a:pt x="852" y="2"/>
                  </a:cubicBezTo>
                  <a:cubicBezTo>
                    <a:pt x="598" y="2"/>
                    <a:pt x="311" y="2"/>
                    <a:pt x="8" y="3"/>
                  </a:cubicBezTo>
                  <a:cubicBezTo>
                    <a:pt x="6" y="3"/>
                    <a:pt x="3" y="3"/>
                    <a:pt x="1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443"/>
                    <a:pt x="2" y="850"/>
                    <a:pt x="2" y="1175"/>
                  </a:cubicBezTo>
                  <a:cubicBezTo>
                    <a:pt x="1" y="1174"/>
                    <a:pt x="1" y="1174"/>
                    <a:pt x="1" y="1174"/>
                  </a:cubicBezTo>
                  <a:cubicBezTo>
                    <a:pt x="307" y="1174"/>
                    <a:pt x="543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704" y="1148"/>
                    <a:pt x="728" y="1129"/>
                    <a:pt x="745" y="1116"/>
                  </a:cubicBezTo>
                  <a:cubicBezTo>
                    <a:pt x="753" y="1109"/>
                    <a:pt x="759" y="1104"/>
                    <a:pt x="763" y="1101"/>
                  </a:cubicBezTo>
                  <a:cubicBezTo>
                    <a:pt x="767" y="1097"/>
                    <a:pt x="769" y="1096"/>
                    <a:pt x="769" y="1096"/>
                  </a:cubicBezTo>
                  <a:cubicBezTo>
                    <a:pt x="769" y="1096"/>
                    <a:pt x="767" y="1098"/>
                    <a:pt x="763" y="1101"/>
                  </a:cubicBezTo>
                  <a:cubicBezTo>
                    <a:pt x="759" y="1104"/>
                    <a:pt x="753" y="1109"/>
                    <a:pt x="745" y="1116"/>
                  </a:cubicBezTo>
                  <a:cubicBezTo>
                    <a:pt x="729" y="1129"/>
                    <a:pt x="705" y="1149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543" y="1175"/>
                    <a:pt x="307" y="1176"/>
                    <a:pt x="1" y="1176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0" y="1175"/>
                    <a:pt x="0" y="1175"/>
                    <a:pt x="0" y="1175"/>
                  </a:cubicBezTo>
                  <a:cubicBezTo>
                    <a:pt x="0" y="850"/>
                    <a:pt x="0" y="44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311" y="0"/>
                    <a:pt x="598" y="0"/>
                    <a:pt x="852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2" y="485"/>
                    <a:pt x="852" y="860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25" y="1051"/>
                    <a:pt x="804" y="1068"/>
                    <a:pt x="790" y="1079"/>
                  </a:cubicBezTo>
                  <a:cubicBezTo>
                    <a:pt x="783" y="1085"/>
                    <a:pt x="778" y="1089"/>
                    <a:pt x="774" y="1092"/>
                  </a:cubicBezTo>
                  <a:cubicBezTo>
                    <a:pt x="771" y="1095"/>
                    <a:pt x="769" y="1096"/>
                    <a:pt x="769" y="109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3" name="Freeform 61">
              <a:extLst>
                <a:ext uri="{FF2B5EF4-FFF2-40B4-BE49-F238E27FC236}">
                  <a16:creationId xmlns:a16="http://schemas.microsoft.com/office/drawing/2014/main" id="{3EBE80C9-B3DE-492E-9C60-C8BE517DE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401" y="7673711"/>
              <a:ext cx="1046389" cy="359735"/>
            </a:xfrm>
            <a:custGeom>
              <a:avLst/>
              <a:gdLst>
                <a:gd name="T0" fmla="*/ 349 w 349"/>
                <a:gd name="T1" fmla="*/ 120 h 120"/>
                <a:gd name="T2" fmla="*/ 0 w 349"/>
                <a:gd name="T3" fmla="*/ 120 h 120"/>
                <a:gd name="T4" fmla="*/ 0 w 349"/>
                <a:gd name="T5" fmla="*/ 59 h 120"/>
                <a:gd name="T6" fmla="*/ 59 w 349"/>
                <a:gd name="T7" fmla="*/ 0 h 120"/>
                <a:gd name="T8" fmla="*/ 292 w 349"/>
                <a:gd name="T9" fmla="*/ 0 h 120"/>
                <a:gd name="T10" fmla="*/ 349 w 349"/>
                <a:gd name="T11" fmla="*/ 57 h 120"/>
                <a:gd name="T12" fmla="*/ 349 w 349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120">
                  <a:moveTo>
                    <a:pt x="34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323" y="0"/>
                    <a:pt x="349" y="26"/>
                    <a:pt x="349" y="57"/>
                  </a:cubicBezTo>
                  <a:cubicBezTo>
                    <a:pt x="349" y="120"/>
                    <a:pt x="349" y="120"/>
                    <a:pt x="349" y="12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4" name="Freeform 62">
              <a:extLst>
                <a:ext uri="{FF2B5EF4-FFF2-40B4-BE49-F238E27FC236}">
                  <a16:creationId xmlns:a16="http://schemas.microsoft.com/office/drawing/2014/main" id="{DA8BB4E4-2B05-4608-8C29-ECC2E3E07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767" y="7481852"/>
              <a:ext cx="599559" cy="191859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5" name="Freeform 63">
              <a:extLst>
                <a:ext uri="{FF2B5EF4-FFF2-40B4-BE49-F238E27FC236}">
                  <a16:creationId xmlns:a16="http://schemas.microsoft.com/office/drawing/2014/main" id="{BA0D4198-3E5D-4BA2-A39C-39698FAC2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767" y="7481852"/>
              <a:ext cx="599559" cy="191859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66" name="Freeform 64">
              <a:extLst>
                <a:ext uri="{FF2B5EF4-FFF2-40B4-BE49-F238E27FC236}">
                  <a16:creationId xmlns:a16="http://schemas.microsoft.com/office/drawing/2014/main" id="{4EE21866-8D6E-4BF3-B2E8-8D4BD28AC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8479014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7" name="Oval 65">
              <a:extLst>
                <a:ext uri="{FF2B5EF4-FFF2-40B4-BE49-F238E27FC236}">
                  <a16:creationId xmlns:a16="http://schemas.microsoft.com/office/drawing/2014/main" id="{952AA24B-2249-4F97-915A-2624F650E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581255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8" name="Oval 66">
              <a:extLst>
                <a:ext uri="{FF2B5EF4-FFF2-40B4-BE49-F238E27FC236}">
                  <a16:creationId xmlns:a16="http://schemas.microsoft.com/office/drawing/2014/main" id="{4027E108-C4D8-4896-B728-9B319D97F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670873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9" name="Oval 67">
              <a:extLst>
                <a:ext uri="{FF2B5EF4-FFF2-40B4-BE49-F238E27FC236}">
                  <a16:creationId xmlns:a16="http://schemas.microsoft.com/office/drawing/2014/main" id="{16D65A89-4633-49C2-92D3-A71CDBA53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761753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0" name="Oval 68">
              <a:extLst>
                <a:ext uri="{FF2B5EF4-FFF2-40B4-BE49-F238E27FC236}">
                  <a16:creationId xmlns:a16="http://schemas.microsoft.com/office/drawing/2014/main" id="{1A47C41A-3DEE-4A2C-ADB0-F14A01E71B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848847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1" name="Freeform 69">
              <a:extLst>
                <a:ext uri="{FF2B5EF4-FFF2-40B4-BE49-F238E27FC236}">
                  <a16:creationId xmlns:a16="http://schemas.microsoft.com/office/drawing/2014/main" id="{12D76C1C-9635-4BFE-B365-E29C5BAE4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141685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2" name="Freeform 70">
              <a:extLst>
                <a:ext uri="{FF2B5EF4-FFF2-40B4-BE49-F238E27FC236}">
                  <a16:creationId xmlns:a16="http://schemas.microsoft.com/office/drawing/2014/main" id="{89577CD2-334E-429C-B48F-4F90B38481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141685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3" name="Freeform 71">
              <a:extLst>
                <a:ext uri="{FF2B5EF4-FFF2-40B4-BE49-F238E27FC236}">
                  <a16:creationId xmlns:a16="http://schemas.microsoft.com/office/drawing/2014/main" id="{77E4A008-11DE-4877-B8EC-F933E3140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9169454"/>
              <a:ext cx="422847" cy="331966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9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49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9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49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4" name="Oval 72">
              <a:extLst>
                <a:ext uri="{FF2B5EF4-FFF2-40B4-BE49-F238E27FC236}">
                  <a16:creationId xmlns:a16="http://schemas.microsoft.com/office/drawing/2014/main" id="{1FEDCB8B-00D2-4AA3-BF3D-9BA1F31D77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243925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5" name="Oval 73">
              <a:extLst>
                <a:ext uri="{FF2B5EF4-FFF2-40B4-BE49-F238E27FC236}">
                  <a16:creationId xmlns:a16="http://schemas.microsoft.com/office/drawing/2014/main" id="{F72230AE-DBC5-4B9E-8E6E-3F61FE60A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333544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6" name="Oval 74">
              <a:extLst>
                <a:ext uri="{FF2B5EF4-FFF2-40B4-BE49-F238E27FC236}">
                  <a16:creationId xmlns:a16="http://schemas.microsoft.com/office/drawing/2014/main" id="{717A280D-B020-4BED-967E-325A1674C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423162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7" name="Oval 75">
              <a:extLst>
                <a:ext uri="{FF2B5EF4-FFF2-40B4-BE49-F238E27FC236}">
                  <a16:creationId xmlns:a16="http://schemas.microsoft.com/office/drawing/2014/main" id="{4EA16A62-2825-401B-AC6B-6DA3F9514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51025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8" name="Freeform 76">
              <a:extLst>
                <a:ext uri="{FF2B5EF4-FFF2-40B4-BE49-F238E27FC236}">
                  <a16:creationId xmlns:a16="http://schemas.microsoft.com/office/drawing/2014/main" id="{C74854D8-C42A-47F6-B0E3-67125FAA5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782897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9" name="Freeform 77">
              <a:extLst>
                <a:ext uri="{FF2B5EF4-FFF2-40B4-BE49-F238E27FC236}">
                  <a16:creationId xmlns:a16="http://schemas.microsoft.com/office/drawing/2014/main" id="{8A8FE237-45C1-4855-8C47-860D94C87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9810666"/>
              <a:ext cx="422847" cy="331966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7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50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7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0" name="Oval 78">
              <a:extLst>
                <a:ext uri="{FF2B5EF4-FFF2-40B4-BE49-F238E27FC236}">
                  <a16:creationId xmlns:a16="http://schemas.microsoft.com/office/drawing/2014/main" id="{9D434DA5-0FD3-42C6-85BF-5D0C7A2B8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88513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1" name="Oval 79">
              <a:extLst>
                <a:ext uri="{FF2B5EF4-FFF2-40B4-BE49-F238E27FC236}">
                  <a16:creationId xmlns:a16="http://schemas.microsoft.com/office/drawing/2014/main" id="{93118D9C-00F8-4143-B826-DFBB21893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97475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2" name="Oval 80">
              <a:extLst>
                <a:ext uri="{FF2B5EF4-FFF2-40B4-BE49-F238E27FC236}">
                  <a16:creationId xmlns:a16="http://schemas.microsoft.com/office/drawing/2014/main" id="{6B0B2F19-24D3-4B01-A0E0-1821DEB67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061850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3" name="Oval 81">
              <a:extLst>
                <a:ext uri="{FF2B5EF4-FFF2-40B4-BE49-F238E27FC236}">
                  <a16:creationId xmlns:a16="http://schemas.microsoft.com/office/drawing/2014/main" id="{D07C3D0D-7A18-4F44-B363-48E515FAE9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15146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4" name="Freeform 82">
              <a:extLst>
                <a:ext uri="{FF2B5EF4-FFF2-40B4-BE49-F238E27FC236}">
                  <a16:creationId xmlns:a16="http://schemas.microsoft.com/office/drawing/2014/main" id="{AC2941E7-7865-4A0F-8F18-97F924627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10403914"/>
              <a:ext cx="429158" cy="427896"/>
            </a:xfrm>
            <a:custGeom>
              <a:avLst/>
              <a:gdLst>
                <a:gd name="T0" fmla="*/ 340 w 340"/>
                <a:gd name="T1" fmla="*/ 339 h 339"/>
                <a:gd name="T2" fmla="*/ 0 w 340"/>
                <a:gd name="T3" fmla="*/ 339 h 339"/>
                <a:gd name="T4" fmla="*/ 0 w 340"/>
                <a:gd name="T5" fmla="*/ 0 h 339"/>
                <a:gd name="T6" fmla="*/ 340 w 340"/>
                <a:gd name="T7" fmla="*/ 0 h 339"/>
                <a:gd name="T8" fmla="*/ 340 w 340"/>
                <a:gd name="T9" fmla="*/ 339 h 339"/>
                <a:gd name="T10" fmla="*/ 10 w 340"/>
                <a:gd name="T11" fmla="*/ 330 h 339"/>
                <a:gd name="T12" fmla="*/ 330 w 340"/>
                <a:gd name="T13" fmla="*/ 330 h 339"/>
                <a:gd name="T14" fmla="*/ 330 w 340"/>
                <a:gd name="T15" fmla="*/ 9 h 339"/>
                <a:gd name="T16" fmla="*/ 10 w 340"/>
                <a:gd name="T17" fmla="*/ 9 h 339"/>
                <a:gd name="T18" fmla="*/ 10 w 340"/>
                <a:gd name="T19" fmla="*/ 33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39">
                  <a:moveTo>
                    <a:pt x="340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39"/>
                  </a:lnTo>
                  <a:close/>
                  <a:moveTo>
                    <a:pt x="10" y="330"/>
                  </a:moveTo>
                  <a:lnTo>
                    <a:pt x="330" y="330"/>
                  </a:lnTo>
                  <a:lnTo>
                    <a:pt x="330" y="9"/>
                  </a:lnTo>
                  <a:lnTo>
                    <a:pt x="10" y="9"/>
                  </a:lnTo>
                  <a:lnTo>
                    <a:pt x="10" y="33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5" name="Freeform 83">
              <a:extLst>
                <a:ext uri="{FF2B5EF4-FFF2-40B4-BE49-F238E27FC236}">
                  <a16:creationId xmlns:a16="http://schemas.microsoft.com/office/drawing/2014/main" id="{E7E6D385-9A27-4176-BA9F-58D0B9CF6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10430421"/>
              <a:ext cx="422847" cy="329442"/>
            </a:xfrm>
            <a:custGeom>
              <a:avLst/>
              <a:gdLst>
                <a:gd name="T0" fmla="*/ 0 w 335"/>
                <a:gd name="T1" fmla="*/ 155 h 261"/>
                <a:gd name="T2" fmla="*/ 45 w 335"/>
                <a:gd name="T3" fmla="*/ 107 h 261"/>
                <a:gd name="T4" fmla="*/ 121 w 335"/>
                <a:gd name="T5" fmla="*/ 166 h 261"/>
                <a:gd name="T6" fmla="*/ 294 w 335"/>
                <a:gd name="T7" fmla="*/ 0 h 261"/>
                <a:gd name="T8" fmla="*/ 335 w 335"/>
                <a:gd name="T9" fmla="*/ 48 h 261"/>
                <a:gd name="T10" fmla="*/ 119 w 335"/>
                <a:gd name="T11" fmla="*/ 261 h 261"/>
                <a:gd name="T12" fmla="*/ 0 w 335"/>
                <a:gd name="T13" fmla="*/ 15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1">
                  <a:moveTo>
                    <a:pt x="0" y="155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4" y="0"/>
                  </a:lnTo>
                  <a:lnTo>
                    <a:pt x="335" y="48"/>
                  </a:lnTo>
                  <a:lnTo>
                    <a:pt x="119" y="26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6" name="Oval 84">
              <a:extLst>
                <a:ext uri="{FF2B5EF4-FFF2-40B4-BE49-F238E27FC236}">
                  <a16:creationId xmlns:a16="http://schemas.microsoft.com/office/drawing/2014/main" id="{E85F327B-43C3-4C5E-9B11-14D90592E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50236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7" name="Oval 85">
              <a:extLst>
                <a:ext uri="{FF2B5EF4-FFF2-40B4-BE49-F238E27FC236}">
                  <a16:creationId xmlns:a16="http://schemas.microsoft.com/office/drawing/2014/main" id="{4984CD6A-BAF0-4ADE-B113-28BDE578AC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591987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8" name="Oval 86">
              <a:extLst>
                <a:ext uri="{FF2B5EF4-FFF2-40B4-BE49-F238E27FC236}">
                  <a16:creationId xmlns:a16="http://schemas.microsoft.com/office/drawing/2014/main" id="{376240DE-8B42-4A58-9F07-1332F48C8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682867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9" name="Oval 87">
              <a:extLst>
                <a:ext uri="{FF2B5EF4-FFF2-40B4-BE49-F238E27FC236}">
                  <a16:creationId xmlns:a16="http://schemas.microsoft.com/office/drawing/2014/main" id="{26118FFE-EA04-494E-8D14-DE27ADEC9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77248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0" name="Freeform 88">
              <a:extLst>
                <a:ext uri="{FF2B5EF4-FFF2-40B4-BE49-F238E27FC236}">
                  <a16:creationId xmlns:a16="http://schemas.microsoft.com/office/drawing/2014/main" id="{A84EE35D-F974-411F-95D1-ED76DC053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7150" y="10855793"/>
              <a:ext cx="282739" cy="579363"/>
            </a:xfrm>
            <a:custGeom>
              <a:avLst/>
              <a:gdLst>
                <a:gd name="T0" fmla="*/ 224 w 224"/>
                <a:gd name="T1" fmla="*/ 0 h 459"/>
                <a:gd name="T2" fmla="*/ 0 w 224"/>
                <a:gd name="T3" fmla="*/ 459 h 459"/>
                <a:gd name="T4" fmla="*/ 159 w 224"/>
                <a:gd name="T5" fmla="*/ 459 h 459"/>
                <a:gd name="T6" fmla="*/ 224 w 224"/>
                <a:gd name="T7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459">
                  <a:moveTo>
                    <a:pt x="224" y="0"/>
                  </a:moveTo>
                  <a:lnTo>
                    <a:pt x="0" y="459"/>
                  </a:lnTo>
                  <a:lnTo>
                    <a:pt x="159" y="459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1" name="Freeform 89">
              <a:extLst>
                <a:ext uri="{FF2B5EF4-FFF2-40B4-BE49-F238E27FC236}">
                  <a16:creationId xmlns:a16="http://schemas.microsoft.com/office/drawing/2014/main" id="{AE16BE82-DB93-4C78-B8FF-C68637C17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844" y="10859579"/>
              <a:ext cx="540234" cy="578101"/>
            </a:xfrm>
            <a:custGeom>
              <a:avLst/>
              <a:gdLst>
                <a:gd name="T0" fmla="*/ 0 w 428"/>
                <a:gd name="T1" fmla="*/ 458 h 458"/>
                <a:gd name="T2" fmla="*/ 65 w 428"/>
                <a:gd name="T3" fmla="*/ 0 h 458"/>
                <a:gd name="T4" fmla="*/ 428 w 428"/>
                <a:gd name="T5" fmla="*/ 111 h 458"/>
                <a:gd name="T6" fmla="*/ 0 w 428"/>
                <a:gd name="T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458">
                  <a:moveTo>
                    <a:pt x="0" y="458"/>
                  </a:moveTo>
                  <a:lnTo>
                    <a:pt x="65" y="0"/>
                  </a:lnTo>
                  <a:lnTo>
                    <a:pt x="428" y="111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2" name="Freeform 90">
              <a:extLst>
                <a:ext uri="{FF2B5EF4-FFF2-40B4-BE49-F238E27FC236}">
                  <a16:creationId xmlns:a16="http://schemas.microsoft.com/office/drawing/2014/main" id="{6B3B1CCC-F182-4551-B207-FEF37804E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844" y="10853268"/>
              <a:ext cx="546546" cy="584412"/>
            </a:xfrm>
            <a:custGeom>
              <a:avLst/>
              <a:gdLst>
                <a:gd name="T0" fmla="*/ 0 w 182"/>
                <a:gd name="T1" fmla="*/ 195 h 195"/>
                <a:gd name="T2" fmla="*/ 51 w 182"/>
                <a:gd name="T3" fmla="*/ 153 h 195"/>
                <a:gd name="T4" fmla="*/ 179 w 182"/>
                <a:gd name="T5" fmla="*/ 48 h 195"/>
                <a:gd name="T6" fmla="*/ 179 w 182"/>
                <a:gd name="T7" fmla="*/ 50 h 195"/>
                <a:gd name="T8" fmla="*/ 120 w 182"/>
                <a:gd name="T9" fmla="*/ 32 h 195"/>
                <a:gd name="T10" fmla="*/ 26 w 182"/>
                <a:gd name="T11" fmla="*/ 3 h 195"/>
                <a:gd name="T12" fmla="*/ 28 w 182"/>
                <a:gd name="T13" fmla="*/ 2 h 195"/>
                <a:gd name="T14" fmla="*/ 8 w 182"/>
                <a:gd name="T15" fmla="*/ 140 h 195"/>
                <a:gd name="T16" fmla="*/ 0 w 182"/>
                <a:gd name="T17" fmla="*/ 195 h 195"/>
                <a:gd name="T18" fmla="*/ 0 w 182"/>
                <a:gd name="T19" fmla="*/ 194 h 195"/>
                <a:gd name="T20" fmla="*/ 0 w 182"/>
                <a:gd name="T21" fmla="*/ 191 h 195"/>
                <a:gd name="T22" fmla="*/ 2 w 182"/>
                <a:gd name="T23" fmla="*/ 181 h 195"/>
                <a:gd name="T24" fmla="*/ 7 w 182"/>
                <a:gd name="T25" fmla="*/ 141 h 195"/>
                <a:gd name="T26" fmla="*/ 26 w 182"/>
                <a:gd name="T27" fmla="*/ 2 h 195"/>
                <a:gd name="T28" fmla="*/ 26 w 182"/>
                <a:gd name="T29" fmla="*/ 0 h 195"/>
                <a:gd name="T30" fmla="*/ 27 w 182"/>
                <a:gd name="T31" fmla="*/ 1 h 195"/>
                <a:gd name="T32" fmla="*/ 121 w 182"/>
                <a:gd name="T33" fmla="*/ 30 h 195"/>
                <a:gd name="T34" fmla="*/ 180 w 182"/>
                <a:gd name="T35" fmla="*/ 48 h 195"/>
                <a:gd name="T36" fmla="*/ 182 w 182"/>
                <a:gd name="T37" fmla="*/ 49 h 195"/>
                <a:gd name="T38" fmla="*/ 180 w 182"/>
                <a:gd name="T39" fmla="*/ 50 h 195"/>
                <a:gd name="T40" fmla="*/ 51 w 182"/>
                <a:gd name="T41" fmla="*/ 154 h 195"/>
                <a:gd name="T42" fmla="*/ 13 w 182"/>
                <a:gd name="T43" fmla="*/ 184 h 195"/>
                <a:gd name="T44" fmla="*/ 3 w 182"/>
                <a:gd name="T45" fmla="*/ 192 h 195"/>
                <a:gd name="T46" fmla="*/ 1 w 182"/>
                <a:gd name="T47" fmla="*/ 194 h 195"/>
                <a:gd name="T48" fmla="*/ 0 w 182"/>
                <a:gd name="T4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2" h="195">
                  <a:moveTo>
                    <a:pt x="0" y="195"/>
                  </a:moveTo>
                  <a:cubicBezTo>
                    <a:pt x="4" y="192"/>
                    <a:pt x="20" y="178"/>
                    <a:pt x="51" y="153"/>
                  </a:cubicBezTo>
                  <a:cubicBezTo>
                    <a:pt x="83" y="126"/>
                    <a:pt x="128" y="90"/>
                    <a:pt x="179" y="48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60" y="44"/>
                    <a:pt x="141" y="38"/>
                    <a:pt x="120" y="32"/>
                  </a:cubicBezTo>
                  <a:cubicBezTo>
                    <a:pt x="87" y="22"/>
                    <a:pt x="55" y="12"/>
                    <a:pt x="26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0" y="58"/>
                    <a:pt x="13" y="106"/>
                    <a:pt x="8" y="140"/>
                  </a:cubicBezTo>
                  <a:cubicBezTo>
                    <a:pt x="3" y="173"/>
                    <a:pt x="1" y="191"/>
                    <a:pt x="0" y="195"/>
                  </a:cubicBezTo>
                  <a:cubicBezTo>
                    <a:pt x="0" y="195"/>
                    <a:pt x="0" y="195"/>
                    <a:pt x="0" y="194"/>
                  </a:cubicBezTo>
                  <a:cubicBezTo>
                    <a:pt x="0" y="193"/>
                    <a:pt x="0" y="193"/>
                    <a:pt x="0" y="191"/>
                  </a:cubicBezTo>
                  <a:cubicBezTo>
                    <a:pt x="1" y="189"/>
                    <a:pt x="1" y="185"/>
                    <a:pt x="2" y="181"/>
                  </a:cubicBezTo>
                  <a:cubicBezTo>
                    <a:pt x="3" y="172"/>
                    <a:pt x="5" y="158"/>
                    <a:pt x="7" y="141"/>
                  </a:cubicBezTo>
                  <a:cubicBezTo>
                    <a:pt x="12" y="107"/>
                    <a:pt x="18" y="58"/>
                    <a:pt x="26" y="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56" y="10"/>
                    <a:pt x="88" y="20"/>
                    <a:pt x="121" y="30"/>
                  </a:cubicBezTo>
                  <a:cubicBezTo>
                    <a:pt x="141" y="36"/>
                    <a:pt x="161" y="42"/>
                    <a:pt x="180" y="48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29" y="91"/>
                    <a:pt x="84" y="128"/>
                    <a:pt x="51" y="154"/>
                  </a:cubicBezTo>
                  <a:cubicBezTo>
                    <a:pt x="35" y="167"/>
                    <a:pt x="22" y="177"/>
                    <a:pt x="13" y="184"/>
                  </a:cubicBezTo>
                  <a:cubicBezTo>
                    <a:pt x="9" y="188"/>
                    <a:pt x="6" y="190"/>
                    <a:pt x="3" y="192"/>
                  </a:cubicBezTo>
                  <a:cubicBezTo>
                    <a:pt x="2" y="193"/>
                    <a:pt x="1" y="194"/>
                    <a:pt x="1" y="194"/>
                  </a:cubicBezTo>
                  <a:cubicBezTo>
                    <a:pt x="0" y="195"/>
                    <a:pt x="0" y="195"/>
                    <a:pt x="0" y="1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3" name="Freeform 91">
              <a:extLst>
                <a:ext uri="{FF2B5EF4-FFF2-40B4-BE49-F238E27FC236}">
                  <a16:creationId xmlns:a16="http://schemas.microsoft.com/office/drawing/2014/main" id="{50F8FDBC-F106-4A53-B825-C32ECDF1E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379" y="7481852"/>
              <a:ext cx="71947" cy="191859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4" name="Freeform 92">
              <a:extLst>
                <a:ext uri="{FF2B5EF4-FFF2-40B4-BE49-F238E27FC236}">
                  <a16:creationId xmlns:a16="http://schemas.microsoft.com/office/drawing/2014/main" id="{1CA58FAB-81C7-41C6-AA94-B2560FE6E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379" y="7481852"/>
              <a:ext cx="71947" cy="191859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2" name="Freeform 100">
              <a:extLst>
                <a:ext uri="{FF2B5EF4-FFF2-40B4-BE49-F238E27FC236}">
                  <a16:creationId xmlns:a16="http://schemas.microsoft.com/office/drawing/2014/main" id="{FD0AABC1-3F19-45C5-AAC9-B68F075BC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3564" y="8578474"/>
              <a:ext cx="422847" cy="333229"/>
            </a:xfrm>
            <a:custGeom>
              <a:avLst/>
              <a:gdLst>
                <a:gd name="T0" fmla="*/ 0 w 335"/>
                <a:gd name="T1" fmla="*/ 154 h 264"/>
                <a:gd name="T2" fmla="*/ 45 w 335"/>
                <a:gd name="T3" fmla="*/ 107 h 264"/>
                <a:gd name="T4" fmla="*/ 121 w 335"/>
                <a:gd name="T5" fmla="*/ 166 h 264"/>
                <a:gd name="T6" fmla="*/ 295 w 335"/>
                <a:gd name="T7" fmla="*/ 0 h 264"/>
                <a:gd name="T8" fmla="*/ 335 w 335"/>
                <a:gd name="T9" fmla="*/ 48 h 264"/>
                <a:gd name="T10" fmla="*/ 119 w 335"/>
                <a:gd name="T11" fmla="*/ 264 h 264"/>
                <a:gd name="T12" fmla="*/ 0 w 335"/>
                <a:gd name="T13" fmla="*/ 15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4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5" y="0"/>
                  </a:lnTo>
                  <a:lnTo>
                    <a:pt x="335" y="48"/>
                  </a:lnTo>
                  <a:lnTo>
                    <a:pt x="119" y="26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8E70C126-605F-466B-9535-B6C3649A4DAC}"/>
              </a:ext>
            </a:extLst>
          </p:cNvPr>
          <p:cNvSpPr/>
          <p:nvPr/>
        </p:nvSpPr>
        <p:spPr>
          <a:xfrm>
            <a:off x="2911618" y="2204235"/>
            <a:ext cx="7494511" cy="1017343"/>
          </a:xfrm>
          <a:prstGeom prst="roundRect">
            <a:avLst>
              <a:gd name="adj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FCA357FA-2649-4C58-BF5D-37E591A534FE}"/>
              </a:ext>
            </a:extLst>
          </p:cNvPr>
          <p:cNvSpPr/>
          <p:nvPr/>
        </p:nvSpPr>
        <p:spPr>
          <a:xfrm>
            <a:off x="2865262" y="3539087"/>
            <a:ext cx="7494512" cy="1043865"/>
          </a:xfrm>
          <a:prstGeom prst="roundRect">
            <a:avLst>
              <a:gd name="adj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5628B640-C6BA-4CE6-9B0F-30E44A18544F}"/>
              </a:ext>
            </a:extLst>
          </p:cNvPr>
          <p:cNvSpPr/>
          <p:nvPr/>
        </p:nvSpPr>
        <p:spPr>
          <a:xfrm>
            <a:off x="3050145" y="2344955"/>
            <a:ext cx="696686" cy="696686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38100">
            <a:solidFill>
              <a:srgbClr val="00B050"/>
            </a:solidFill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C93414D1-C754-4945-B617-A2BEAB19DA41}"/>
              </a:ext>
            </a:extLst>
          </p:cNvPr>
          <p:cNvSpPr/>
          <p:nvPr/>
        </p:nvSpPr>
        <p:spPr>
          <a:xfrm>
            <a:off x="3045243" y="3692138"/>
            <a:ext cx="696686" cy="696686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38100">
            <a:solidFill>
              <a:srgbClr val="00B050"/>
            </a:solidFill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F689793E-3C3F-45F7-B54C-484EC7568DE1}"/>
              </a:ext>
            </a:extLst>
          </p:cNvPr>
          <p:cNvSpPr txBox="1"/>
          <p:nvPr/>
        </p:nvSpPr>
        <p:spPr>
          <a:xfrm>
            <a:off x="3942645" y="2354869"/>
            <a:ext cx="6218786" cy="45050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 up notification when Todo task  expire.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AE0C8B40-44AC-474E-A727-4B88EB98A3E5}"/>
              </a:ext>
            </a:extLst>
          </p:cNvPr>
          <p:cNvSpPr txBox="1"/>
          <p:nvPr/>
        </p:nvSpPr>
        <p:spPr>
          <a:xfrm>
            <a:off x="3859745" y="3741069"/>
            <a:ext cx="6122833" cy="66829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iority based Todo tasks, high priority tasks should be pinned on top of the list.</a:t>
            </a:r>
          </a:p>
        </p:txBody>
      </p:sp>
      <p:sp>
        <p:nvSpPr>
          <p:cNvPr id="195" name="Freeform 17">
            <a:extLst>
              <a:ext uri="{FF2B5EF4-FFF2-40B4-BE49-F238E27FC236}">
                <a16:creationId xmlns:a16="http://schemas.microsoft.com/office/drawing/2014/main" id="{35A3DEC1-0318-4782-8182-F274E7C0E734}"/>
              </a:ext>
            </a:extLst>
          </p:cNvPr>
          <p:cNvSpPr>
            <a:spLocks/>
          </p:cNvSpPr>
          <p:nvPr/>
        </p:nvSpPr>
        <p:spPr bwMode="auto">
          <a:xfrm>
            <a:off x="3235303" y="2535950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96" name="Freeform 17">
            <a:extLst>
              <a:ext uri="{FF2B5EF4-FFF2-40B4-BE49-F238E27FC236}">
                <a16:creationId xmlns:a16="http://schemas.microsoft.com/office/drawing/2014/main" id="{4332B5B4-27FF-437F-838B-C8F1C21CD5FC}"/>
              </a:ext>
            </a:extLst>
          </p:cNvPr>
          <p:cNvSpPr>
            <a:spLocks/>
          </p:cNvSpPr>
          <p:nvPr/>
        </p:nvSpPr>
        <p:spPr bwMode="auto">
          <a:xfrm>
            <a:off x="3217335" y="3903671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83130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7</TotalTime>
  <Words>633</Words>
  <Application>Microsoft Office PowerPoint</Application>
  <PresentationFormat>Widescreen</PresentationFormat>
  <Paragraphs>105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rial</vt:lpstr>
      <vt:lpstr>Calibri</vt:lpstr>
      <vt:lpstr>Chiller</vt:lpstr>
      <vt:lpstr>Consolas</vt:lpstr>
      <vt:lpstr>Dubai Light</vt:lpstr>
      <vt:lpstr>EquipExtended-Light</vt:lpstr>
      <vt:lpstr>Segoe UI</vt:lpstr>
      <vt:lpstr>Segoe UI Light</vt:lpstr>
      <vt:lpstr>Times New Roman</vt:lpstr>
      <vt:lpstr>Wingdings</vt:lpstr>
      <vt:lpstr>Office Theme</vt:lpstr>
      <vt:lpstr>1_Office Theme</vt:lpstr>
      <vt:lpstr>think-cell Slide</vt:lpstr>
      <vt:lpstr>PowerPoint Presentation</vt:lpstr>
      <vt:lpstr>TEAM INTRODUCTION:</vt:lpstr>
      <vt:lpstr>PowerPoint Presentation</vt:lpstr>
      <vt:lpstr>PowerPoint Presentation</vt:lpstr>
      <vt:lpstr>PowerPoint Presentation</vt:lpstr>
      <vt:lpstr>BOUNDARY CONDITIONS</vt:lpstr>
      <vt:lpstr>TECHNOLOGIES USED</vt:lpstr>
      <vt:lpstr>ONE FEATURE WANT TO HIGHLIGHT:</vt:lpstr>
      <vt:lpstr>FUTURE   DEVELOPMENT</vt:lpstr>
      <vt:lpstr>TESTING OF THE CODE</vt:lpstr>
      <vt:lpstr>LESSONS LEARN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sandesh T</cp:lastModifiedBy>
  <cp:revision>164</cp:revision>
  <dcterms:created xsi:type="dcterms:W3CDTF">2021-10-01T02:40:42Z</dcterms:created>
  <dcterms:modified xsi:type="dcterms:W3CDTF">2022-11-15T04:56:01Z</dcterms:modified>
</cp:coreProperties>
</file>